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20"/>
  </p:notesMasterIdLst>
  <p:sldIdLst>
    <p:sldId id="307" r:id="rId3"/>
    <p:sldId id="308" r:id="rId4"/>
    <p:sldId id="258" r:id="rId5"/>
    <p:sldId id="321" r:id="rId6"/>
    <p:sldId id="326" r:id="rId7"/>
    <p:sldId id="333" r:id="rId8"/>
    <p:sldId id="328" r:id="rId9"/>
    <p:sldId id="329" r:id="rId10"/>
    <p:sldId id="330" r:id="rId11"/>
    <p:sldId id="331" r:id="rId12"/>
    <p:sldId id="332" r:id="rId13"/>
    <p:sldId id="301" r:id="rId14"/>
    <p:sldId id="267" r:id="rId15"/>
    <p:sldId id="309" r:id="rId16"/>
    <p:sldId id="325" r:id="rId17"/>
    <p:sldId id="327" r:id="rId18"/>
    <p:sldId id="318" r:id="rId19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B7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90" autoAdjust="0"/>
    <p:restoredTop sz="94660"/>
  </p:normalViewPr>
  <p:slideViewPr>
    <p:cSldViewPr>
      <p:cViewPr varScale="1">
        <p:scale>
          <a:sx n="103" d="100"/>
          <a:sy n="103" d="100"/>
        </p:scale>
        <p:origin x="-234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5A5324-1691-432E-9B96-DD7ECF3FE52F}" type="datetimeFigureOut">
              <a:rPr lang="en-US" smtClean="0"/>
              <a:t>11/27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FCEDEF-2737-46F8-AF36-888F22E9CA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67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792288" y="428625"/>
            <a:ext cx="5048250" cy="37861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5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2301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03943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571625" y="428625"/>
            <a:ext cx="4572000" cy="34290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094222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A9F14-C511-417B-A9FD-D24FC59BDCAC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BCBAB-C02B-4274-A7B8-550998EC6408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CA2D8-4097-488C-8F22-5B6BC7F8F25F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FDF8C06-BECE-4604-993D-3EA24CE77146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2003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F21D25-0A0E-4CEF-B8EC-06AAD4D88D67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03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CFFB93-16C9-4092-B2E8-8524430274D9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654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1D1537B-F5F1-4193-B349-40CCA73A30F7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0942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96D8EE-0A5C-4A16-B50B-139E7C35F60D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044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FD0A75-0C51-4FAB-9A77-D3D5A22B9FD2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625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066677-F6DB-4D65-B38F-6102DEE5773C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12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864DCF-8937-41AF-9397-C604AFA04C04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440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3948-EF4E-487D-A973-F020DFB0C13D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D957F01-0396-45A9-B9E5-3EF821B91B6C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658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1CF0A-EE07-4DC7-B646-E46D5CF42549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44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CEAED0-EDD4-47F0-8B83-A0BFAC7192C5}" type="datetime1">
              <a:rPr lang="en-US" smtClean="0">
                <a:solidFill>
                  <a:prstClr val="black"/>
                </a:solidFill>
              </a:rPr>
              <a:pPr/>
              <a:t>11/2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9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82192-DBA8-43EE-99A4-050572532554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CC562-935D-439C-A9D0-99D4A236FD23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759BC-0EB8-42E7-A3E5-26D3D51497DF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1F1A-BFC5-405E-A04F-D0A8DD753E51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34B6A5-54F2-4F05-9229-C065F0C5A5E7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801CD-400D-4959-9D90-8FBA5EEFE16D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50644-5C5C-4C15-8677-274220AE684D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IGATE Sensi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A46F6BC-7E90-4C48-A62D-F06457316283}" type="datetime1">
              <a:rPr lang="en-US" smtClean="0"/>
              <a:t>11/27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IGATE Sensi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98228B8A-B7F7-4AE1-9522-DFDE1528AC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1266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Rectangle 20"/>
          <p:cNvSpPr txBox="1">
            <a:spLocks noChangeArrowheads="1"/>
          </p:cNvSpPr>
          <p:nvPr/>
        </p:nvSpPr>
        <p:spPr>
          <a:xfrm>
            <a:off x="285720" y="6597581"/>
            <a:ext cx="1219200" cy="228600"/>
          </a:xfrm>
          <a:prstGeom prst="rect">
            <a:avLst/>
          </a:prstGeom>
          <a:noFill/>
        </p:spPr>
        <p:txBody>
          <a:bodyPr/>
          <a:lstStyle/>
          <a:p>
            <a:pPr>
              <a:defRPr/>
            </a:pPr>
            <a:fld id="{634B1AA2-1421-4123-B46B-C773544C4A12}" type="datetime4">
              <a:rPr lang="en-US" sz="8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>
                <a:defRPr/>
              </a:pPr>
              <a:t>November 27, 2018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71234" y="6597581"/>
            <a:ext cx="14318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ja-JP" sz="8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Proprietary and Confidential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gray">
          <a:xfrm>
            <a:off x="2750256" y="6631701"/>
            <a:ext cx="237244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rgbClr val="DDDDDD">
                <a:gamma/>
                <a:shade val="60000"/>
                <a:invGamma/>
              </a:srgbClr>
            </a:prstShdw>
          </a:effectLst>
        </p:spPr>
        <p:txBody>
          <a:bodyPr wrap="none" lIns="0" tIns="0" rIns="0" bIns="0" anchor="b" anchorCtr="1">
            <a:spAutoFit/>
          </a:bodyPr>
          <a:lstStyle/>
          <a:p>
            <a:pPr algn="ctr" eaLnBrk="0" hangingPunct="0">
              <a:buClr>
                <a:srgbClr val="000000"/>
              </a:buClr>
              <a:buSzPct val="65000"/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 </a:t>
            </a:r>
            <a:fld id="{F47D9766-21FB-48EB-955B-1DFC7B4C9F61}" type="slidenum">
              <a:rPr lang="en-US" sz="90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pPr algn="ctr" eaLnBrk="0" hangingPunct="0">
                <a:buClr>
                  <a:srgbClr val="000000"/>
                </a:buClr>
                <a:buSzPct val="65000"/>
                <a:buFont typeface="Wingdings" pitchFamily="2" charset="2"/>
                <a:buNone/>
                <a:defRPr/>
              </a:pPr>
              <a:t>‹#›</a:t>
            </a:fld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Candara" panose="020E0502030303020204" pitchFamily="34" charset="0"/>
              </a:rPr>
              <a:t> </a:t>
            </a:r>
            <a:r>
              <a:rPr lang="en-US" sz="800" dirty="0">
                <a:solidFill>
                  <a:srgbClr val="1F497D"/>
                </a:solidFill>
                <a:latin typeface="Arial" pitchFamily="34" charset="0"/>
                <a:ea typeface="ＭＳ Ｐゴシック"/>
                <a:cs typeface="Arial" pitchFamily="34" charset="0"/>
              </a:rPr>
              <a:t>-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60144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79678" y="6583076"/>
            <a:ext cx="0" cy="23142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381000" y="6610350"/>
            <a:ext cx="68389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D:\Temlates\Capgemini_logo_pms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75" y="6321425"/>
            <a:ext cx="16684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4"/>
          <p:cNvSpPr>
            <a:spLocks/>
          </p:cNvSpPr>
          <p:nvPr userDrawn="1">
            <p:custDataLst>
              <p:tags r:id="rId13"/>
            </p:custDataLst>
          </p:nvPr>
        </p:nvSpPr>
        <p:spPr bwMode="auto">
          <a:xfrm>
            <a:off x="0" y="511175"/>
            <a:ext cx="9144000" cy="671513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lIns="99563" tIns="49782" rIns="99563" bIns="49782"/>
          <a:lstStyle/>
          <a:p>
            <a:pPr>
              <a:defRPr/>
            </a:pPr>
            <a:endParaRPr lang="fr-FR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800" b="1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–"/>
        <a:defRPr sz="16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A1E4"/>
        </a:buClr>
        <a:buFont typeface="Arial" panose="020B0604020202020204" pitchFamily="34" charset="0"/>
        <a:buChar char="•"/>
        <a:defRPr sz="1200" kern="1200">
          <a:solidFill>
            <a:schemeClr val="bg1">
              <a:lumMod val="50000"/>
            </a:schemeClr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http://www.seiretto.com/web_hosting/reseller_hosting.php" TargetMode="Externa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591502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65725"/>
            <a:ext cx="9144000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6310313"/>
            <a:ext cx="9144000" cy="547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466725" y="1524000"/>
            <a:ext cx="5705476" cy="2585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5400" b="1" dirty="0" smtClean="0">
                <a:solidFill>
                  <a:schemeClr val="bg1"/>
                </a:solidFill>
                <a:latin typeface="Candara" pitchFamily="34" charset="0"/>
              </a:rPr>
              <a:t>DNS and Web Domain Hosting Website</a:t>
            </a:r>
            <a:endParaRPr lang="en-US" sz="5400" b="1" dirty="0">
              <a:solidFill>
                <a:schemeClr val="bg1"/>
              </a:solidFill>
              <a:latin typeface="Candara" pitchFamily="34" charset="0"/>
            </a:endParaRPr>
          </a:p>
        </p:txBody>
      </p:sp>
      <p:sp>
        <p:nvSpPr>
          <p:cNvPr id="13318" name="TextBox 11"/>
          <p:cNvSpPr txBox="1">
            <a:spLocks noChangeArrowheads="1"/>
          </p:cNvSpPr>
          <p:nvPr/>
        </p:nvSpPr>
        <p:spPr bwMode="auto">
          <a:xfrm>
            <a:off x="6770688" y="5240338"/>
            <a:ext cx="1797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US" sz="900" dirty="0">
                <a:solidFill>
                  <a:schemeClr val="bg1"/>
                </a:solidFill>
                <a:latin typeface="Candara" pitchFamily="34" charset="0"/>
              </a:rPr>
              <a:t>IGATE is now a part of Capgemini</a:t>
            </a:r>
          </a:p>
        </p:txBody>
      </p:sp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6246813"/>
            <a:ext cx="2163762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0"/>
            <a:ext cx="9144000" cy="54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3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921375"/>
            <a:ext cx="21637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505200" y="6096001"/>
            <a:ext cx="1600200" cy="365125"/>
          </a:xfrm>
        </p:spPr>
        <p:txBody>
          <a:bodyPr/>
          <a:lstStyle/>
          <a:p>
            <a:r>
              <a:rPr lang="en-US" dirty="0"/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4288093752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002" b="11778"/>
          <a:stretch/>
        </p:blipFill>
        <p:spPr bwMode="auto">
          <a:xfrm>
            <a:off x="838200" y="1200727"/>
            <a:ext cx="7455862" cy="48444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457200" y="228600"/>
            <a:ext cx="5486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4. When Domain is available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065721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9521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04800" y="23884"/>
            <a:ext cx="838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latin typeface="Baskerville Old Face" pitchFamily="18" charset="0"/>
              </a:rPr>
              <a:t>TEST CASE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14482" y="1676400"/>
            <a:ext cx="7848600" cy="203132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A </a:t>
            </a:r>
            <a:r>
              <a:rPr lang="en-US" b="1" dirty="0"/>
              <a:t>TEST CASE</a:t>
            </a:r>
            <a:r>
              <a:rPr lang="en-US" dirty="0"/>
              <a:t> is a set of conditions or variables under which a tester will determine whether a system under </a:t>
            </a:r>
            <a:r>
              <a:rPr lang="en-US" b="1" dirty="0"/>
              <a:t>test</a:t>
            </a:r>
            <a:r>
              <a:rPr lang="en-US" dirty="0"/>
              <a:t> satisfies requirements or works correctly. The process of developing </a:t>
            </a:r>
            <a:r>
              <a:rPr lang="en-US" b="1" dirty="0"/>
              <a:t>test cases</a:t>
            </a:r>
            <a:r>
              <a:rPr lang="en-US" dirty="0"/>
              <a:t> can also help find problems in the requirements or design of an application</a:t>
            </a:r>
            <a:r>
              <a:rPr lang="en-US" dirty="0" smtClean="0"/>
              <a:t>.</a:t>
            </a:r>
          </a:p>
          <a:p>
            <a:endParaRPr lang="en-US" dirty="0"/>
          </a:p>
          <a:p>
            <a:r>
              <a:rPr lang="en-US" dirty="0" smtClean="0"/>
              <a:t>The Link to our test cases of the application is :</a:t>
            </a:r>
          </a:p>
          <a:p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90047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Defect Report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DEFECT REPORT</a:t>
            </a:r>
            <a:r>
              <a:rPr lang="en-US" b="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 is a document that identifies and describes a </a:t>
            </a:r>
            <a:r>
              <a:rPr lang="en-US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defect</a:t>
            </a:r>
            <a:r>
              <a:rPr lang="en-US" b="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 detected by a tester. The purpose of a </a:t>
            </a:r>
            <a:r>
              <a:rPr lang="en-US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defect report</a:t>
            </a:r>
            <a:r>
              <a:rPr lang="en-US" b="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 is to state the problem as clearly as possible so that developers can replicate the </a:t>
            </a:r>
            <a:r>
              <a:rPr lang="en-US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defect</a:t>
            </a:r>
            <a:r>
              <a:rPr lang="en-US" b="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 easily and fix </a:t>
            </a:r>
            <a:r>
              <a:rPr lang="en-US" b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it.</a:t>
            </a:r>
          </a:p>
          <a:p>
            <a:pPr marL="0" indent="0">
              <a:buNone/>
            </a:pPr>
            <a:endParaRPr lang="en-US" b="0" dirty="0">
              <a:solidFill>
                <a:schemeClr val="tx1">
                  <a:lumMod val="95000"/>
                  <a:lumOff val="5000"/>
                </a:schemeClr>
              </a:solidFill>
              <a:latin typeface="+mn-lt"/>
            </a:endParaRPr>
          </a:p>
          <a:p>
            <a:pPr marL="0" indent="0">
              <a:buNone/>
            </a:pPr>
            <a:r>
              <a:rPr lang="en-US" b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The link to the defect report of our project is : </a:t>
            </a:r>
            <a:endParaRPr lang="en-US" dirty="0">
              <a:solidFill>
                <a:schemeClr val="tx1">
                  <a:lumMod val="95000"/>
                  <a:lumOff val="5000"/>
                </a:schemeClr>
              </a:solidFill>
              <a:latin typeface="+mn-lt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3</a:t>
            </a:fld>
            <a:endParaRPr lang="en-US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971800" y="6123426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172597889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4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04800" y="228600"/>
            <a:ext cx="8229600" cy="45720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3200" b="1" dirty="0">
                <a:latin typeface="Bookman Old Style" panose="02050604050505020204" pitchFamily="18" charset="0"/>
                <a:cs typeface="Times New Roman" panose="02020603050405020304" pitchFamily="18" charset="0"/>
              </a:rPr>
              <a:t>Application link</a:t>
            </a:r>
          </a:p>
        </p:txBody>
      </p:sp>
      <p:sp>
        <p:nvSpPr>
          <p:cNvPr id="11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905000" y="1828800"/>
            <a:ext cx="4953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2"/>
              </a:rPr>
              <a:t>http://</a:t>
            </a:r>
            <a:r>
              <a:rPr lang="en-US" dirty="0" smtClean="0">
                <a:hlinkClick r:id="rId2"/>
              </a:rPr>
              <a:t>www.seiretto.com/web_hosting/reseller_hosting.php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8925443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raceability </a:t>
            </a:r>
            <a:r>
              <a:rPr lang="en-US" dirty="0"/>
              <a:t>Matrix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96556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Conclusion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After going through the website, we got to see that a lot of modules are left incomplete and some of them are not functioning as desired.</a:t>
            </a:r>
          </a:p>
          <a:p>
            <a:pPr marL="0" indent="0">
              <a:buNone/>
            </a:pPr>
            <a:endParaRPr lang="en-US" b="0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0" indent="0">
              <a:buNone/>
            </a:pPr>
            <a:r>
              <a:rPr lang="en-US" b="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Hence improvement is needed for the application to function as per the requirements.</a:t>
            </a:r>
            <a:endParaRPr lang="en-US" b="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94349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17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997535" y="2967335"/>
            <a:ext cx="3148939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hank You</a:t>
            </a:r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34396984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b="1" dirty="0">
                <a:latin typeface="Baskerville Old Face" panose="02020602080505020303" pitchFamily="18" charset="0"/>
              </a:rPr>
              <a:t>TEAM MEMBERS</a:t>
            </a:r>
            <a:endParaRPr lang="en-IN" sz="3600" b="1" dirty="0">
              <a:latin typeface="Baskerville Old Face" panose="02020602080505020303" pitchFamily="18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IN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Pratibha</a:t>
            </a:r>
            <a:r>
              <a:rPr lang="en-IN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IN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Babaji</a:t>
            </a:r>
            <a:r>
              <a:rPr lang="en-IN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IN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Thosar</a:t>
            </a:r>
            <a:endParaRPr lang="en-IN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IN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Poojan</a:t>
            </a:r>
            <a:r>
              <a:rPr lang="en-IN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IN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ethi</a:t>
            </a:r>
            <a:endParaRPr lang="en-IN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IN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Pooja</a:t>
            </a:r>
            <a:r>
              <a:rPr lang="en-IN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IN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hinde</a:t>
            </a:r>
            <a:endParaRPr lang="en-IN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IN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Parth</a:t>
            </a:r>
            <a:r>
              <a:rPr lang="en-IN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IN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Doshi</a:t>
            </a:r>
            <a:endParaRPr lang="en-IN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IN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Pallavi</a:t>
            </a:r>
            <a:r>
              <a:rPr lang="en-IN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Band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124200" y="6111875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27491292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OVERVIEW OF THE PROJE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9491" y="1360054"/>
            <a:ext cx="8229600" cy="4830763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US" sz="2000" dirty="0" smtClean="0">
                <a:solidFill>
                  <a:schemeClr val="tx1"/>
                </a:solidFill>
              </a:rPr>
              <a:t>DNS : </a:t>
            </a:r>
            <a:r>
              <a:rPr lang="en-US" sz="2000" b="0" dirty="0" smtClean="0">
                <a:solidFill>
                  <a:schemeClr val="tx1"/>
                </a:solidFill>
              </a:rPr>
              <a:t>The Domain Name System(DNS) is the phonebook of the internet</a:t>
            </a:r>
          </a:p>
          <a:p>
            <a:pPr>
              <a:lnSpc>
                <a:spcPct val="150000"/>
              </a:lnSpc>
            </a:pPr>
            <a:r>
              <a:rPr lang="en-US" sz="2000" dirty="0" smtClean="0">
                <a:solidFill>
                  <a:schemeClr val="tx1"/>
                </a:solidFill>
              </a:rPr>
              <a:t>Web Hosting : </a:t>
            </a:r>
            <a:r>
              <a:rPr lang="en-US" sz="2000" b="0" dirty="0" smtClean="0">
                <a:solidFill>
                  <a:schemeClr val="tx1"/>
                </a:solidFill>
              </a:rPr>
              <a:t>Web Hosting is a service that allows organizations and individuals to post a website or web page onto the internet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2200" dirty="0" err="1" smtClean="0">
                <a:solidFill>
                  <a:schemeClr val="tx1"/>
                </a:solidFill>
              </a:rPr>
              <a:t>Seiretto</a:t>
            </a:r>
            <a:r>
              <a:rPr lang="en-US" sz="2200" dirty="0" smtClean="0">
                <a:solidFill>
                  <a:schemeClr val="tx1"/>
                </a:solidFill>
              </a:rPr>
              <a:t> – Web Domain and Hosting</a:t>
            </a:r>
          </a:p>
          <a:p>
            <a:pPr>
              <a:lnSpc>
                <a:spcPct val="150000"/>
              </a:lnSpc>
            </a:pPr>
            <a:r>
              <a:rPr lang="en-US" sz="2000" b="0" dirty="0" err="1" smtClean="0">
                <a:solidFill>
                  <a:schemeClr val="tx1"/>
                </a:solidFill>
              </a:rPr>
              <a:t>Seiretto</a:t>
            </a:r>
            <a:r>
              <a:rPr lang="en-US" sz="2000" b="0" dirty="0" smtClean="0">
                <a:solidFill>
                  <a:schemeClr val="tx1"/>
                </a:solidFill>
              </a:rPr>
              <a:t> is a Web Hosting website that has a growing list of GOV.UK and AC.UK domains.</a:t>
            </a:r>
          </a:p>
          <a:p>
            <a:pPr>
              <a:lnSpc>
                <a:spcPct val="150000"/>
              </a:lnSpc>
            </a:pPr>
            <a:r>
              <a:rPr lang="en-US" sz="2000" b="0" dirty="0" smtClean="0">
                <a:solidFill>
                  <a:schemeClr val="tx1"/>
                </a:solidFill>
              </a:rPr>
              <a:t>The website allows you to check for a particular domain name availability and buy the same.</a:t>
            </a:r>
          </a:p>
          <a:p>
            <a:pPr marL="0" indent="0">
              <a:lnSpc>
                <a:spcPct val="150000"/>
              </a:lnSpc>
              <a:buNone/>
            </a:pPr>
            <a:endParaRPr lang="en-US" sz="2000" b="0" dirty="0">
              <a:solidFill>
                <a:schemeClr val="tx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3</a:t>
            </a:fld>
            <a:endParaRPr lang="en-US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857500" y="6148969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22774679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8965"/>
            <a:ext cx="8229600" cy="792162"/>
          </a:xfrm>
        </p:spPr>
        <p:txBody>
          <a:bodyPr/>
          <a:lstStyle/>
          <a:p>
            <a:r>
              <a:rPr lang="en-US" b="1" dirty="0"/>
              <a:t>Actor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8B8A-B7F7-4AE1-9522-DFDE1528AC71}" type="slidenum">
              <a:rPr lang="en-US" smtClean="0"/>
              <a:t>4</a:t>
            </a:fld>
            <a:endParaRPr lang="en-US" dirty="0"/>
          </a:p>
        </p:txBody>
      </p:sp>
      <p:sp>
        <p:nvSpPr>
          <p:cNvPr id="13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743200" y="6111874"/>
            <a:ext cx="2895600" cy="365125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apgemini Public</a:t>
            </a:r>
          </a:p>
        </p:txBody>
      </p:sp>
    </p:spTree>
    <p:extLst>
      <p:ext uri="{BB962C8B-B14F-4D97-AF65-F5344CB8AC3E}">
        <p14:creationId xmlns:p14="http://schemas.microsoft.com/office/powerpoint/2010/main" val="15982334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Use Cases</a:t>
            </a:r>
            <a:endParaRPr lang="en-US" b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026" name="Picture 2" descr="D:\Users\poojseth\Downloads\Flow Use case (1)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618" y="1144672"/>
            <a:ext cx="9148618" cy="4798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685800" y="1144672"/>
            <a:ext cx="1676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Flow Use Case: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17850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AutoShape 2" descr="data:image/jpeg;base64,/9j/4AAQSkZJRgABAQAAAQABAAD/2wBDABALDA4MChAODQ4SERATGCgaGBYWGDEjJR0oOjM9PDkzODdASFxOQERXRTc4UG1RV19iZ2hnPk1xeXBkeFxlZ2P/2wBDARESEhgVGC8aGi9jQjhCY2NjY2NjY2NjY2NjY2NjY2NjY2NjY2NjY2NjY2NjY2NjY2NjY2NjY2NjY2NjY2NjY2P/wAARCAG/BB4DASIAAhEBAxEB/8QAGwABAQADAQEBAAAAAAAAAAAAAAQBAwUCBgf/xABKEAEAAQQBAgQEAgcECQIEBQUBEQACAzEEEiEFIkFREzJhcRSBBhVSYnKRoSQzQrEjNFWCk8HR0tNTkhZDsuElNVSUovBEY2Rz/8QAFwEBAQEBAAAAAAAAAAAAAAAAAAECA//EACYRAQACAgIDAQEAAQUBAAAAAAABERJRITECIkFh8MFCgZGx0XH/2gAMAwEAAhEDEQA/APv0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WawgiJI7Gs0G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XF8aycW3xTh4ufzHjca/BmX+03YC64uxxKXE9m7t967SCIkjsan5IXZMdiSO7XvPmt9O/8Al+ZQcrwnNiyXc23j8q7kcS3lFtlzncpHRhk6l7927t1er2dVfbfdcBfcotvUL6+Ts693t5d/K1u4YXYWSS7pl31eU9fX+d339qEERJHY0ENt91wF9yi29Qvr5Ozr3e3l38rS2+64C+5RbeoX18nZ17vby7+Vq5BESR2Necl1lmK+7LdbbjtFubmAPWfpQR233XAX3KLb1C+vk7Ovd7eXfytLb7rgL7lFt6hfXydnXu9vLv5Wj4twbx+Hkv5Nj2buPivzW/ZbBJ+lHl8vINlnhea259c+THbZ+bbdc/0f+dS2sZLb7rgL7lFt6hfXydnXu9vLv5Wlt91wF9yi29Qvr5Ozr3e3l38rRPFMwicPjnqPVn6v/oj+sz6ep43Pyjbm59ltn/8Ar8ctufo9beR+X50sx/S2+64C+5RbeoX18nZ17vby7+VpbfdcBfcotvUL6+Ts693t5d/K0fD81w25PE+ZfY9rrUx29R6klgn5I0fCeMiOTmI7HmZv+6hUbLb7rgL7lFt6hfXydnXu9vLv5Wlt91wF9yi29Qvr5Ozr3e3l38rWf1Rwru2XHfyLf2eRlvzWj7xepP1p+pvC/wDZvD/4Fv8A0pyeu0HjebLZ4D4hfblvtvt49z1FyJd02x7Q9/3f4Wpcmfww8Q8Ns8O8Uc9+Tk9OTGeIX5i6zove9rfESW//AH09n9TeF/7N4f8AwLf+lP1N4X/s3h/8C3/pTk9dsW33XAX3KLb1C+vk7Ovd7eXfytLb7rgL7lFt6hfXydnXu9vLv5Ws/qbwv/ZvD/4Fv/Sn6m8L/wBm8P8A4Fv/AEpyeu2Lb7rgL7lFt6hfXydnXu9vLv5Wlt91wF9yi29Qvr5Ozr3e3l38rR8J4yI5OYjseZm/7qPheIH4XI5mO/0ueTfkj/dvbrX8xpyV47Lb7rgL7lFt6hfXydnXu9vLv5Wlt91wF9yi29Qvr5Ozr3e3l38rR4HIRHxXmI7GzD/46OHxREeZw0djxLv/ACUKjZbfdcBfcotvUL6+Ts693t5d/K0tvuuAvuUW3qF9fJ2de728u/laOTxK0S/icbNYfM2Z0uvPpa2wL7N0fX1o+INo/ifD+Zise0tluWfpGNuf6RSzGS2+64C+5RbeoX18nZ17vby7+VpbfdcBfcotvUL6+Ts693t5d/K1sxeI8LkZDBbns+NdP+gyeTJ+dl0Ou+td6qQREkdjVSYmO0Nt91wF9yi29Qvr5Ozr3e3l38rS2+64C+5RbeoX18nZ17vby7+Vq5BESR2NEERJHY0R81bm8Oyc3nW+K+J3YcluSwtx38+/D5XDjflLrfVu9D1rr+CX3ZvAfD781zkvv4uNvuvZbltJX3r1lhz3T3OotZdS2dt+vtJP7N1UYLT8Njtbe3QCJHp7Qf5H2oNi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zWEERJHY1mgw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n5IXZMdiSO7XvPmt9O/8Al+ZVCCIkjsa5viWbkfjuNxeNgw5nJjvyXGXK2AWXY/3bp+b2+yUFXDC7CySXdMu+rynr6/zu+/t5z8wMl3HwYb+RmO11oRZbP7Vz2NnYm6GYa5nCz8nn8rleHZg41/Fvs/EuHJ1mW27GRbbc2lxPq7IIe8naw4cXHxW4sGKzFjt1ZZaWh+RUaqI7SPG5fKH8VyPgWPZw8fvJ6jekv+6WpLvs17s8K4VmS3Jdx7cuW1G3JnXLfbGouulKspSjKfhSlKrJSlQeIeJfgOXwcV+HqxcrK4nL1R0XRNvaO8xHpQX0rgcf9J8N+d/EW4uPx27MWZLsly324+zcBbEb/wAX86py+Pca0419hf8ADz5DGOXFlxt0knSdHm/ofWnyx1qVyfAvHLPGPDfxfwMuFJbrGy5Oyna7pC7XprVcq39L7s3D8O5OPjXYjkcn4WW27HffFvm+RA6nt6T7U+0Pq6VzDx/w27j4s1me6+3K3FltmK+696fm8oSR6yVvfFOEcTj8v444ORdbbjvLVFu16dvzoLKVzbPHvDL06eXbvJbLagdHzSx2D3qDxb9J8ODwrkcjw+4vz4THd8PPhvsm264JhBT6lB9DSuWfpB4a4+r493UZPhOP4N/xOuJjojq19Kj8V/SjF4djz324fiuPFZlMb8Sy9LrunzDZFp938qD6ClczL4/4fgsLs2TNZNnxG14+SbLZibjpm0+rFdG262+wusS624kTSUHqlKUGvNhxcjFdiz4rMuO7dl9pcP5NSPhXHtH8Ndm4vsYciWW+8Y2bO/f/AA+s771fSlLEzHSBefgG2/FZzcX7VqWZE1HS+Vfdm03B2704ORi5eJuxqg9N1t9jaj7NqSdke/onvW6pObwbeSXZMV3wOV0dNme20bg9kfmt76e3r2YSLcT285Yc909zqLWXUtnbfr7ST+zdVGC0/DY7W3t0AiR6e0H+R9q4nG53P8Szct43D4zbx87gv+LybrZuCxuCLHtJB3J9ba6vhma3l+E8TP0dNubBZf0MMDaMdgP6FVmYrhU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s1hBESR2NZoM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uf4jxLs3N42bFys3Hy2WX2DiLFbbrrJnqtu9j0+6V0EERJHY1PyQuyY7Ekd2vefNb6d/8AL8yg5vC4Ofh35Obx8l/Lz8i615LlbbXLaWEdPTaWieneGWXSdXj8jFycbfibuzFxda23WvsjCdke/ojXjhhdhZJLumXfV5T19f53ff2cjhYeRkMqXY84RbmxvTeHtPqT36WT3KjVxPamlQx4hxu1rZzcZ386Y8oeujpufb5dErun6zx4/wDWuPyeM7m/H1Wh7t1nVaH3SPXtSzGfi6laePyePy8bk42fFmsGG7HeXA+0lbqrPRUXi/h/6z4F/GMrhvm2/HlCWy4RGPyq2lB8/f8AoxjjgW482Ns4fHvw9GXD125Oo7qdR694rRxP0QOL+H6eZFmHlW8gxW2XdBBEWl1ykzKy/avp6U/v8n9/hzPAvC8nhHB/BvIszYLFccYm24lVl6kd+xXP4v6MZcGDgcd51l2Hg8n4+MMCXPdUXqj13Bqvo6U/R8vb+h2Oy3j3fiMOXJgvyXRyOMZMd1t7MNs7H1mupyvCDk+BvhxdhwXANt+HD02WXF0iWT27+k11KU+UfbfNYv0O49t+Yycm+7Fl43wOi2yG1i0uvGXu9JWLv0T6/CsnB+Lwcd11tlvx8PB6L3pR80X95j6V9NSg+az/AKKHJxcr8Tm42fNyspkyX5OPdFsEBaF4n3lmvGX9Dvi4MuK/xHJe5OJZxuu+zqZtv6urevSPb1r6ilB89yf0au5PPt52bLws2dxfCyW5+H8TGw9m21vm1jttmu9isMeKywLQttCLLekI9j0K90oFKUoFKkzeJcPBluw38ixzW7w2efJ7/ITc9u+td68fjs+X/VeBmuH5cmZMVn1kfOf+3+nepbWMrqj5XLyTk4/Bsty8oN3iY8bE+a4Pt5Tv3NHc8/hOTyO/L5d9trvDx3otD26vnU9xtmNbmrFgw4MJhw4rMeImLLLQtJ32ocQ42Pwu/iZ+R+F8S5WAzZjJk6TEjelgvmtYWZiT6WpXU4HHs4/hvG41otmLDbjC/uwAd+x/kfateWHPdPc6i1l1LZ236+0k/s3VRgtPw2O1t7dAIkentB/kfaqz22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rNYQREkdjWaD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qDxPmcTiXYvxnJwYbL9Ga8tLout9Hf8u3uVegiJI7GudzzkYvFeLysPDy8myzBlx3GK6wbW67GnzXH7LQe/DeVxeTxr78OfDms6rbLrrLy46um0he8vc9X71ZdfjS4uutgS1F9X0/qfzrl8HByL8/M5Gbi34DNyC62zJdY3dPRitZ6V7eS7/F+TqqrePeFo2drYtgTXkmNduzqD91oKrr8aXF11sCWovq+n9T+dLr8aXF11sCWovq+n9T+dS28e8LRs7WxbAmvJMa7dnUH7rWjPkx8Qx252LmLbcdp1XXh0T02ndCGYA97WhEX0p5PD8P5WT4nK43GzX2xZ1ZLLbk9iX76+tcP9JuXh/R7w+zl4Hl5MjmMXbm3vQtq6v6rXsep6zXSx2cvLisceC3HYhaOV7h279BHbynabOyzbJDo5n6PcbxC3Hb4hiyci3Ghba5UtPl1ba2nY6iYNaajVzH1J+jXivN8a8NyczHyTCW5vhNvKsty94tSGwxxPVHefSuu3eI4pXNweRCWtnTdhhYjzTf7naPXfvo8N8GweF8f4HE4/w8fVNx1tyr0Sysp5X2O3ytVW8e8LRs7WxbAmvJMa7dnUH7rSjJ4eV4hbLfxOI22oXFnLW6e3YGwJZIFNnej4llJnwzldktf9Jh7LEH959T+de7ePeFo2drYtgTXkmNduzqD91pbx7wtGztbFsCa8kxrt2dQfutC408Pipjl5HD5WG0S3q6bcnmYgjG3Jv1I/mUfGeITNvK7Ja/2PL2WIPl+p/OvdvHvC0bO1sWwJryTGu3Z1B+60t494WjZ2ti2BNeSY127OoP3WhcaasvjvBw478mV5NlmP57ruLlC37vT22VNh/S3wPPltxYea5MlzFtlmHIq/QLa9+K8HkZ/BuZx8OPqy38e7FZaXBK22kGu3Z/ZP3WvPKu5fP5fh5+rOThx4eR8TJflvxR09F9v+HIu7j/76pyeulT4zxCZt5XZLX+x5eyxB8v1P50fGeITNvK7Ja/2PL2WIPl+p/OvdvHvC0bO1sWwJryTGu3Z1B+60t494WjZ2ti2BNeSY127OoP3WnJ66eHxLKTPhnK7Ja/6TD2WIP7z6n86PiHIum2zw7JZcJbOfNjtsHt2W265NkdnZ96928e8LRs7WxbAmvJMa7dnUH7rS3j3haNna2LYE15JjXbs6g/daFxp4eT4iTPF4PZLX+2XdliD+7+p/OieIkzz+D2S1/st3ZYg/vPqfzr3bx7wtGztbFsCa8kxrt2dQfutLePeFo2drYtgTXkmNduzqD91pRlqHh4uW6fjeK50ktvssMdlsseU8vUb7eae53nvR8M8PZM1rntEG3k5rs1pcxHa9Qe/37/WvdvHvC0bO1sWwJryTGu3Z1B+60t494WjZ2ti2BNeSY127OoP3WlGUt+LHxsGH4OKzFjxWvT0WgWi+kfWf617uvxpcXXWwJai+r6f1P51Lbx7wtGztbFsCa8kxrt2dQfutLePeFo2drYtgTXkmNduzqD91qsqrr8aXF11sCWovq+n9T+dLr8aXF11sCWovq+n9T+dS28e8LRs7WxbAmvJMa7dnUH7rS3j3haNna2LYE15JjXbs6g/daCXmeJeH8fm34eTzuNiyD3syZrbUHodL2I9JJ9rq6HEux5eFhusbb8d+O1tbdInp2O35Fc3ivL8P5HMt/VvIz2Zctl9l+G/F0wYsdru613a+hVnhHHv4/gvC42ezpyY+Pjx32qMJaCUFi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zWEERJHY1mgw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j5vO/D58XGt4mflZM1l95bi6CLbW0Z6rj9orfyeTx+Ni6uVmxYcdz0zluLRfbvXI5d/O5XinE5Hh9luCyzHkx3X8vFd5rbrrO9tgl3Zt/wAQH+dFqe1/G8Rs5Rmtv42bDfiyGK/Hl6dpa7FNXnrO+1YPFOPnxdXGsv5VjHfH09LP7yhM9umZl1HeoeL4P+Jy5+Tz81vIc2S3J8O2xtxR0YzvbL1fIbuuO1dQ4gAdUlsAR6eWTt/Dog79xocI15XKE5Oa3BiuS1xYDzd4Icl0RPVrptu9td9/Hx8PjF/wOPbY3tpfd0hdfMd7l7r5v8Xd77racQAOqS2AI9PLJ2/h0Qd+40OIAHVJbAEenlk7fw6IO/caUT5S9PIx3CNqilsJG43OvmOz3+lHkY7hG1RS2EjcbnXzHZ7/AErycQAOqS2AI9PLJ2/h0Qd+40OIAHVJbAEenlk7fw6IO/caI9PIx3CNqilsJG43OvmOz3+lHkY7hG1RS2EjcbnXzHZ7/Spc+XhcO+3Fyedx8NwHTblvtteny+knZ6XUH0a1HM4MHwc1/Isti0u4+C/LaHlkWwQfLog79xqW1jM/F7yMdwjaopbCRuNzr5js9/pR5GO4RtUUthI3G518x2e/0qA5FlwW8fjczPdbB0/h3FFvlnvf0n+HQm/lYaGTkAH6s5iWwBOHXlk7ZP3dEHfuNLMZXvIx3CNqilsJG43OvmOz3+lHkY7hG1RS2EjcbnXzHZ7/AEqA/GXhbh8PvsbYD8Tksst6fLJ5G5ny6At9/qMPigB+F4aWwB+Ju15ZO2P93RB37jSzGVPN8RwcXg8jk5bL7seGxuuAJSBjukPfTDWm7xW63Pgw8nw3lYDkZPhW3ZLsTb1QsMXrofSpOdwfFOX4dyOIYeHZ8XE4rbvxFz0iBoxntog+la8nE/SPk8ji38v9VX4+Pl+L0Y7stjd5brYnv2i59KWYy7byMdwjaopbCRuNzr5js9/pR5GO4RtUUthI3G518x2e/wBKgMPigB+F4aWwB+Ju15ZO2P8Ad0Qd+40MPigB+F4aWwB+Ju15ZO2P93RB37jSzGV7yMdwjaopbCRuNzr5js9/pR5GO4RtUUthI3G518x2e/0qAycgA/VnMS2AJw68snbJ+7og79xoZOQAfqzmJbAE4deWTtk/d0Qd+40sxle8jHcI2qKWwkbjc6+Y7Pf6UeRjuEbVFLYSNxudfMdnv9KgOXxgDp5iWwB+Bza8sna393RB37jQ53htoW5OfhxXWwfDzvwrg8vZtYSenUAzppcGPlpe8jHcI2qKWwkbjc6+Y7Pf6UeRjuEbVFLYSNxudfMdnv8AStWDHhz4bMmDPZlxatushtQ6RJP4dEHuNeziAB1SWwBHp5ZO38OiDv3Gqy9PIx3CNqilsJG43OvmOz3+lHkY7hG1RS2EjcbnXzHZ7/SvJxAA6pLYAj08snb+HRB37jQ4gAdUlsAR6eWTt/Dog79xoPTyMdwjaopbCRuNzr5js9/pR5GO4RtUUthI3G518x2e/wBK8nEADqktgCPTyydv4dEHfuNDiAB1SWwBHp5ZO38OiDv3Ggmu8UuvzZ8ODw3l8i3FcWX3W/DtJbbboi+8dXHpVfE5GPncHDybLUx58duS0vO8XE9/51zDjc3icvkfg+VxrcWXJapl47c23FmOw7l9poGIH2Gr/DON+G8J4nFuev4WCzGrakxaGmgq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WawgiJI7Gs0G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14z5cODDdk5GSzHiPmuyXBaT27rQe0ERJHY0QREkdjULzr+QJwuJfnsexlvTHifze6RpttRk77jP4DJn/17lX57XeGw+HifyPMkbLrkZe2oltY1295+fx8eS7AdefMdnFisb0nRdHa2fTqQrW2c/lD15LOJiu/wW2mTJH8T5R9Ei43D37V4sGHBhMOHFZjxExZZaFpO+1e0ERJHY0LiOk+Dgcbj3t9mNuyJ0uTLe5L+n9nquVj6apyQuyY7Ekd2vefNb6d/wDL8yqEERJHY1B4nzOJxLsX4zk4MNl+jNeWl0XW+jv+Xb3KqTMz238MLsLJJd0y76vKevr/ADu+/tQgiJI7GuVxfEsGbH0cNs5uTIxGPJa29rbBbru/Y6rZ73Pf10Ufq3HyPN4j0cu/9m6z/RW+0WKk/Vl7veOxFr7LD4nhyicTDm5o+uG06E9YvuS19oFf5MF8SziGLjcax7jkXLdHs2nSD9rk++6vpQuPkIHw/LlE5PP5OSy758dnTjtfoNp1B/vfde9Z/VHBu/vsH4j2/E33Zun7dax+X0q6lKMpaePxuPxMbj42DFhsWW3HYWi+8FbqUqs9lKUoFKVruz4bM9mG7Ljty5BbMbcF1wbg9aDZSlYuuLbW65ACVfSgzSteHNi5GK3LgyWZcdxNt9lwj9krZQKUpQKUpQSZvDOByMt2XPweNlyXbvvxW3L+aVrfCeMCY7+Ti/ZLORf02+0WL0we0R6RFX0qU1lO0DxOdYJi8Q+IXfMcnBbf/Lo6P6z+XqeTzrBM/hvxC7Rx81t/8+vo/pPrr1vpSjLcJsHN43KvcVlyZIlxZbGy9t9+m4GPSYiqEERJHY1q5HG4/LxmPk4MWawZLclhcD7w1M4uRwx+CX8rj+uG67qyE+1913c+l3u9+xbQqJ6essOe6e51FrLqWztv19pJ/ZuqjBafhsdrb26ARI9PaD/I+1crL4x4Z8Yb+fxrOstvDJlLXoeh0sgneO38N1dPiXY8vCw3WNt+O/Ha2tukT07Hb8iqy3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rNYQREkdjWaD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rzkussxX3ZbrbcdotzcwB6z9KjfEbc428LBfzLXt8S1DF/wC52bnp6oh7T2osRMrkERJHY1PyebxuPf8ACy3N2RJ+Fjscl/T79NosekxFaXicnkic3k9ON3h482fk3z1Me50z3k7xVODi8fjYnFx+Piw47mW3HYWi/YqLUR2mXn8obTFZxMV27r0yZI0nSeUfZm41J37bMXh3Hx5DLeX58xP+kzXN6TvpHtbPqWgVUgiJI7GiCIkjsaUZT8EERJHY0QREkdjRBESR2NEERJHY1WRBESR2NEERJHY0QREkdjRBESR2NAQREkdjXM8RvzYPFuJycfEy8m23Blx3W4brOobrsUMXXHbyvf0rpoIiSOxqfkhdkx2JI7te8+a307/5fmUHG8OvycbxXxHxLk8fLg4/Nusi6+Lugsx2grY3HSzd5pg6e73r6KpuGF2Fkku6Zd9XlPX1/nd9/bV+Bycf/wDLs1nGs/8ARuxdWI90BEfsxvtLNRrie11Kh/H5cPbmcLNZ+/hHNYvsdJ1fm2h/SdvH5/E5WRx4OTivyhN2Mu89v3t2fnqlmMqaUpVZKUpQKUpQK+e8Y68P6UeFctwci/BixZS+/FhvydKhE9I19DSn0fG82/xfJ4hyL8J4gZ7uRieJ025LcPwvXqPlPWervqprc/iNnivDx8jL4hZy8vLz/EsbshjusB6ek+VPtX3dTYuBw8PJv5OLiYMee+erLbjC66dyxNSv7/j/AMP7/t8LjxePX8DJdkfFjLj4BdYdWUXL8R9PV6fR9K++47e8fE5J62w6pIZjvW2latClKVFKUpQKUpQKUqH9b8G7+5z/AIj3/DWXZun79Ax+f1osRM9Lq08jkYuNjL8rd3YtLbW6659gJXsL29Ban+L4hyP7rBZw7T/FyIyXL7dNl0R9er0161twcLFivcl6589x03ZsoN7b+z2AD6AHrtWotRHbieFX8rwvJzrcvh3IyvJ5TyJxX4umxvtsmxW87ix9dldbwbDfh8D4GDNZ032cbHZfZd6JaCVnLDnunudRay6ls7b9faSf2bqowWn4bHa29ugESPT2g/yPtVSZubbEERJHY0QREkdjRBESR2NEERJHY0Q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ZrCCIkjsazQY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UeTxHA334sNmTlZBbbrMNnUCbtbmLRPZR/mV5ePzeUJys9mHFd82Lji3PpDkfR+ltqej27y2sdt/K5fG4xbbyc1ljkktsufNf9Lbd3Pc7HvWhzc3lCYOPZhxXdjJyZbn6/DPR+t1qep277+PwuPxi/4WPzX/Pfct11/t1XMrH1a3oIiSOxoXEdI7fDcTeX8rJk5l9rNrnhLfZLQLZ+sT33ViCIkjsaIIiSOxogiJI7GqkzMiCIkjsaIIiSOxogiJI7GiCIkjsaIIIiSOxogiJI7GiCIkjsaIIiSOxoCCIkjsaIIiSOxogiJI7GiCIkjsaAgiJI7GiCIkjsaIIiSOxogiJI7GgIIiSOxqfkhdkx2JI7te8+a307/wCX5lUIIiSOxrieOW8M8R4mfxLi/H4mPj5+peNdmtsunGigMdi7v96Dp8MLsLJJd0y76vKevr/O77+1CCIkjsa+W8G5nByZOaeG8bJfxb+T1Y7MXGutxsWYpO50jNt24+5MvRyW+IZEsxcfFjsUL7883ojZ/gJLpDfUpOyIqW1jP10ubyMfE4PI5Oa1ux4cd2S8tJUCWK4fhX6R+E/pRybuFbw8l7jsc0cnFY29kO3d7+b/ADrdy/CHn4L8HK5HL+Fkt6b7Lbi3u9PdQlQk79R27s96j8E/RTieDcp5GF5F911hjvMvSne6y7Rb9HUnbZVTrp2/1Xhs78fNyePcfL0Zrm2w9iy6bI9Ijt6RT8Lzsf8Ac+I9c7/E4Lb4+3R0f1n0164txXIF9ik29Qky+Te509/Nr5iluK5AvsUm3qEmXyb3Onv5tfMVKXKWZ8Ux9ujh8j16+u7DH06Yv/nP5e78XzcfbL4bffduePmsutj73tjP5fnWLcVyBfYpNvUJMvk3udPfza+YpbiuQL7FJt6hJl8m9zp7+bXzFKMvxn9Y3Wd+RwOZht9LugyS+0Y25/OIp+teP/6fM/8A2Wb/ALaxbiuQL7FJt6hJl8m9zp7+bXzFLcVyBfYpNvUJMvk3udPfza+YoXGmf1vwre+XJfx7f2uRivw2r7TeBP0p+ufC/wDaXD/49v8A1rFuK5AvsUm3qEmXyb3Onv5tfMUtxXIF9ik29Qky+Te509/Nr5inJ66Z/XPhf+0uH/x7f+tP1z4X/tLh/wDHt/61D41gzZfAufjsxZL77uPdb0lqt13TbHbvL2/e/iKkycfwy/xDw18O8KcN9nJnJeeHX4gs6Lzvc2REtv8A9tjk9dOz+ufC/wDaXD/49v8A1p+ufC/9pcP/AI9v/WsW4rkC+xSbeoSZfJvc6e/m18xS3FcgX2KTb1CTL5N7nT382vmKcnrpn9a8f/0+Z/8Ass3/AG0/WvH/APT5n/7LN/21i3FcgX2KTb1CTL5N7nT382vmKW4rkC+xSbeoSZfJvc6e/m18xTk9dM/juR/snmf+7D/5KfH8Rv8ANj4GG210ZuT03n3Lbbj+S/8AKsW4rkC+xSbeoSZfJvc6e/m18xS3FcgX2KTb1CTL5N7nT382vmKFxpnp8Uv83xuHhn/5fwrssf73VbP8j/nT8DyL/wC98S5KXfNZZbZZa+4eXqD/AHpPee9YtxXIF9ik29Qky+Te509/Nr5iluK5AvsUm3qEmXyb3Onv5tfMUoyln9UcG7++wfiPb8Tfdm6ft1rH5fSrUERJHY1DbiuQL7FJt6hJl8m9zp7+bXzFLcVyBfYpNvUJMvk3udPfza+YqpMzPa5BESR2NEERJHY1DbiuQL7FJt6hJl8m9zp7+bXzFLcVyBfYpNvUJMvk3udPfza+Yoj1lhz3T3OotZdS2dt+vtJP7N1UYLT8Njtbe3QCJHp7Qf5H2r5+zB4dbzuc+KeF358t2Wxsvu4F+abfg4z5i271LvV9a63gmK7H4D4fizWNt9vFx232XkI9JIlBc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s1hBESR2NZoM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pc/P4+PJdgOvPmOzixWN6ToujtbPp1IUWImelSCIkjsa1cnk8fjYurlZsWHHc9M5bi0X271M28/lDbe2cPE/spkyJ7dzptff5hlh9a3YOBxuPe32Y27InS5Mt7kv6f2eq5WPpqotRHbS8rkckbeLxLyy7/5vJOi2PXyfMv0S0Y3qc/q0zd+dmv5Zv4d4GIfXyGz26uqIO896tQREkdjRBESR2NKMtPNuOyzEYrLLbcdp0loQB7R7V6QREkdjRBESR2NEERJHY1WRBESR2NEERJHY0QREkdjRBESR2NAQREkdjRBESR2NEERJHY0QREkdjQEERJHY0QREkdjRBESR2NEERJHY0BBESR2NEERJHY1q5PJ4/GxdXKzYsOO56Zy3Fovt3qZ8Sx5RONxuTyp/YxdNrb7l18W3H2WZ9qWseMyuQREkdjRBESR2NQtviWcbb3jcWx7XdC5rrh9pLS1+5cfTt3z+rMeT/WuRyeS6i/J02p7NtnTan3GfXtUWo+y95/EeFhyXYMmey7MbwWefI/7hK9u+td61vM5GcTi8G+6x/wAfJu+FbcepEN0/e0Prqa8WDDgwmHDisx4iYsstC0nfavaCIkjsaFxpC8bnZx+Pzfgjqzj47e0+i3l3V9wt9e3tx/F/D/Ccfi/BPEc99mH4Oa627PzchF5djiFu7MLr/lX0yCIkjsan5IXZMdiSO7XvPmt9O/8Al+ZSjKXK8JzYsl3Nt4/Ku5HEt5RbZc53KR0YZOpe/du7dXq9nVX233XAX3KLb1C+vk7Ovd7eXfytbuGF2Fkku6Zd9XlPX1/nd9/ahBESR2NVlDbfdcBfcotvUL6+Ts693t5d/K0tvuuAvuUW3qF9fJ2de728u/lauQREkdjWrk8nj8bF1crNiw47npnLcWi+3eh2mtvuuAvuUW3qF9fJ2de728u/laW33XAX3KLb1C+vk7Ovd7eXfytHxTjXiY8fJzdXa3o497bf7RcnTD7zH1ijyuZlG3H4Zfa+v4nLZbant5G9n8o+tS2sZLb7rgL7lFt6hfXydnXu9vLv5Wlt91wF9yi29Qvr5Ozr3e3l38rRt8UyjN3D45psbLs0/WZs/lH5+x4nOyiZ/EOg9Dj4LbZ+/X1z+Ueu/RZj+lt91wF9yi29Qvr5Ozr3e3l38rS2+64C+5RbeoX18nZ17vby7+Vo+H5rhtyeJ8y+x7XWpjt6j1JLBPyRo+E8ZEcnMR2PMzf91Co2W33XAX3KLb1C+vk7Ovd7eXfytLb7rgL7lFt6hfXydnXu9vLv5Ws/qniPbIZs1vrZm5GTJY/e265H8yn6m8L/ANm8P/gW/wDSnJ67YtvuuAvuUW3qF9fJ2de728u/la+azcrgvgfiGTkeLZLfEbfxPTjfEL7Li4uvLDo6g0HbpPtX036m8L/2bw/+Bb/0p+pvC/8AZvD/AOBb/wBKcnrti2+64C+5RbeoX18nZ17vby7+VpbfdcBfcotvUL6+Ts693t5d/K1n9TeF/wCzeH/wLf8ApT9TeF/7N4f/AALf+lOT12xbfdcBfcotvUL6+Ts693t5d/K0tvuuAvuUW3qF9fJ2de728u/laPg/Bhtx4r8Fjuzj5b8Vr9W2xBfrR8J4yI5OYjseZm/7qcnrstvuuAvuUW3qF9fJ2de728u/laW33XAX3KLb1C+vk7Ovd7eXfytHw68G3F4jzMeP0sWzJH5323XP5rR4fMsH4fiN+RezbycNl9sfawtZ/OPpQqNlt91wF9yi29Qvr5Ozr3e3l38rS2+64C+5RbeoX18nZ17vby7+Vo2eKWiuXh5z1xuG7H1f73VdH8n/AJ0eTzrBM/hvxC7Rx81t/wDPr6P6T669VmOi2+64C+5RbeoX18nZ17vby7+VpbfdcBfcotvUL6+Ts693t5d/K0fE8QNufjczHf8A4rHjX5I/OwutfyWt/H5nE5pecbkYeQW/MY7y6J94/OraT4zDRbfdcBfcotvUL6+Ts693t5d/K0tvuuAvuUW3qF9fJ2de728u/lauQREkdjRBESR2NEcPxjM2+Grlz34sblwma/4jZFrfiLpuI6ezd+zt7eteeDl4F3jmLF4fz3lY7uLlctn4y7OCXY+lRuY3d/Wu1yI+GDputGXfmPqf/wBejqp+LaN1o2yFnSka8tnbXb7eX+H1oL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1msIIiSOxrNBh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U/J53F49/wALNlt+JcSYbTrvuPpYSpvR6NaV5/KG0xWcTFdu69MmSNJ0nlH2ZuNSd+0trGVefLhwYbsnIyWY8R812S4LSe3dakedfyBOFxL89j2Mt6Y8T+b3SNNtqMnfcbMXh+GzIZczfyc5MZc0KT2ekgLe3Z6Qn1mqkERJHY0OIRfgcuf/AF/k/Gt/9LFa48b/ABErd6iL0p6VViwYcGEw4cVmPETFlloWk77V7QREkdjRBESR2NWkmZkQREkdjRBESR2NEERJHY0QREkdjRBBESR2NEERJHY0QREkdjRBESR2NAQREkdjRBESR2NEERJHY1Pyedw+Nf8AC5HIxW5LiTE3DfefS3bOoDvRYiZ6UIIiSOxogiJI7GoXnZM428ThZsg9uvOOGw9x6jq17Wp3+8HBz+QPxuTZxrH/AAcewvuPo33kJ/un37d5a47XIIiSOxqF8W4F4mLN+JP8Rx7Ls0ffoGPz33rP6p4l/wDrFt/KXunIvclq+/S+UfsET2gq1BESR2NOT1Qubn5xMfCsw2PlXk5TqPr02SJ9Oon6bo8DNmE5fOzX23fNjwhisfsnnP8A3f07VcgiJI7GiCIkjsaUZaT4PD+Lx72/Hht+JcdN2W/z33Hs3Mqa2+hVCCIkjsaIIiSOxogiJI7GqkzM9iCIkjsaIIiSOxogiJI7GiCIkjsaIIIiSOxogiJI7GiCIkjsaIIiSOxoCCIkjsan5IXZMdiSO7XvPmt9O/8Al+ZVCCIkjsa5niTysviHF4nGyYMZkxZMt12bE5B6LscEdQf4t/yigr4YXYWSS7pl31eU9fX+d339tLz3kCcDj/irHt8ZyW24X3Oruv5WpPb0Y5vA+NzvEud4dzcll9nCyY7rnFbdYZy7GRbcNyod5Fert6EP0NRriO0Dwc3IE53Lvvt0Wcfqw2/di5uXf+KPpPet3H4HE4uRyYONisypF2Qt8933u2/nuqaUoykpSlVkpSuR4j4jybPF+J4ZwTDblzWXZb8ua1uttsPa0SVfrQdelfJ+IeO87wzxjNi5PJsvxY+NjvSzjyN12TpkG4dfvP2qzm/pB8Tw3nZfD8HJbcNuS23l9Nvwy+21dLMSRMRNS+LK5p9BSuP+j/jB4pxrLS3Lkvx4rPjcjptMbkbRbTvvv3ggqHw79IeRmt5/I5fSYOHflHHi4t8ttnr8Ru6Z+lWeJI5fTUr55/S7iW4smS7hc0MeKzPd5bP7u7V3z/btvvqqOV+knD4nOw8XNZkHNdZbZeX42erT09XWH16aDs0r5fiePcjmfpBw+NZl/wBBdfyMeW34JZ1NkR63PruSfauhyP0k4fHzcjFfjzt3Hz48F0WkN1+k76pHNDsUrleHePcbxPmZuPxceS74Nzbde3WAR2+Xq6o+vTXK/wDiDkcbx7mcfkZerAcvHhx2GEuQbFe8ka29X2oPqqV8zm/SvFyfDc93Excnj5r+Jk5GC/LbZCW9vRfX3Ku/R/xg8U41lpblyX48VnxuR02mNyNotp3337wQUHYpSlArRyeFxeX0/iuNhz9E9PxMZdE7ia30oRNdIHw+7ELxOVmsud2577s9l33LmffSfWdUeXmwDbzuN/oz5uRjRxh73C9Vv17IG7tpfSpTWW2jJfZk49l9l9t2O9sS4e1wp6ySP/8AU6rTxbRutG2Qs6UjXls7a7fby/w+tc/xq/J4Xdiv4jb/AG7k4uO2ZOpssuuunrLRN95O3Uw+87eLbzOP4rg4vKzcfPjv42S4+HgcadLjPW64hHRBVSYp10ERJHY0QREkdjRBESR2NEERJHY0Q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ZrCCIkjsazQY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WjlcvjcYtt5OayxySW2XPmv+ltu7nudj3oRF9N6CIkjsaIIiSOxqFz8vlDbx+N8Cx/8Am8kmT0iwZftc2pPr3Kz+q8GX/Xbr+c+hyOltP90C2d94nvuKjVV2w+JY842cLFfy27sXWkYvv1vlSez0y77MNHicnkic3k9ON3h482fk3z1Me50z3k7xVyCIkjsaIIiSOxpRddNWDi4ONiceHFbbbczd6t76tztX1Xu1tQREkdjRBESR2NEERJHY1WexBESR2NEERJHY0QREkdjRBESR2NAQREkdjRBESR2NR5PFOCX34vj25slq234sI5b7febbRQ9O5Xl5XLzj+H4Hk9+Tk+H1HpAFz+Vxa/1iW1jK5BESR2NeM+XDgw3ZORksx4j5rslwWk9u61I8LlZhOVz7+l7XWcfGY7brfrPVcP1Lj6Q962YvDeJiyGQw/EykhkzXOS8HtBdcqG+0x3fehUba3xTj5Rt42PNy518HGtl/vF7Fnv8A4vSN9qL4lnEMXG41j3HIuW6PZtOkH7XJ991cgiJI7GiCIkjsaFx8hC+GGQTk8zmZz0HL8OPf+7LZ/Of86pwcXj8bE4uPx8WHHcy247C0X7FbUERJHY0QREkdjVpJ8pkQREkdjRBESR2NEERJHY0QREkdjRBBESR2NEERJHY0QREkdjRBESR2NAQREkdjRBESR2NEERJHY0QREkdjQEERJHY0QREkdjRBESR2NEERJHY0BBESR2NEERJHY0QREkdjRBESR2NAQREkdjRBESR2NEERJHY0QREkdjQEERJHY1B4lwsPL5GC7I5bb7BLbsOa/HdDdZJNrKdj0/Mq9BESR2Nc/n8/hYspjz8vj2dKF9t+S0hbrUkfpLr8zdFiJnpp4nheO3F8XjZcuLN8T4pluvcnWuO0RblW1g7Fz8pCJ2p/WNuDy+IWfhrjd/e7FHo/EgD2hhn7i/G/ov8Aph4h4p45g8P5GDimHP1dTbZd1drH1bmflNzX36CIkjsai38lmlQ/qvBi/wBSuv4L6nH6S1/3UbZ13ie24p0+J4flycblW6Lb7XFdHu3HUL9rTfpqhUfJXUqH8dyLP73w3khb819l1l9p7p5upP8Adl9p7U/W/Ct75cl/Ht/a5GK/DavtN4E/SlmMrqg5/heLm8jByTLm4/JwT0ZsKdUOxERPuVTx+Tx+XjcnGz4s1gw3Y7y4H2krdVZ6cPmfoxxedlvy8rlcrJlvx2Y7r5sFLbuoe1sTNe//AIc45i5HHx8vl4uLnb27j2XW9A3CMTbPrMTE+ldmlBy/CvAeL4RnvycPJmttvx22X4lOi5tILoj5vt/KtWL9HcOLj8vj28zl/h+W5LsmJ+HE37R6Z/rXZpSeTpxMn6L8LJizY3LyIzcazjXRdb2tt0nbfavN36LcNz3ZDk8q227LjzXYy63pb7NPe2fymu7Sn6OPw/0b4fD5+PmY8mdyWZMuQLriJyb9Pp2rxy/0Y4nK5uXk3cjk2fGy2ZsmOy63puus097V/rXbpQcrB4DxsXi/6zvyZMvJC4G63HbE9u/TaL27d1rVn/RnhZ+dfy78vIMl+e3OhdbHVba2hrUNdqlBwrP0U4NmDFiMvJ6cfGv4w9Vs9Nyq633qnwrwHi+EZ78nDyZrbb8dtl+JToubSC6I+b7fyrqUoFK15s2Lj4rsufLZix27vvuLQ/NqX9b8G7+5z/iPf8NZdm6fv0DH5/WlrHjM9QupUP6wyXd8Ph3My2Or4ssn/dvuLj8yn/4pl/8A0fGj+LP1f/RH9Z+kd5a47XVHf4jicl2Hil3IzC2xYLZbd6l14JbHqPf6Kg+f1ZZk7czPm5lvpZm6ej87bQLvT5hiO0VXbjssxGKyy23HadJaEAe0e1DiHOz+HHIsvyc+9vvyOO3ptvbbcUXiFlw23TPTLMradtW158P8Pw4uVblnkZMhica5s+TJAlikXLCp7Wv0ro8iPhg6brRl35j6n/8AXo6qfi2jdaNshZ0pGvLZ212+3l/h9aqTNrEERJHY0QREkdjRBESR2NEERJHY0Q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ZrCCIkjsazQYQREkdjRBESR2NEERJHY0QREkdjQEERJHY0QREkdjRBESR2NEERJHY0BBESR2NEERJHY0QREkdjRBESR2NBycfjZm43Hz3eGcy3jchxluS9xRGRC1QvWPMeldB5GO4RtUUthI3G518x2e/0rh4ODzngcPg38vjX8bC4G0ONcXX2Y7sbvrT8wT6ldo4gAdUlsAR6eWTt/Dog79xoPTyMdwjaopbCRuNzr5js9/pR5GO4RtUUthI3G518x2e/wBK8nEADqktgCPTyydv4dEHfuNDiAB1SWwBHp5ZO38OiDv3Gg9PIx3CNqilsJG43OvmOz3+laeX4hi4/GuyXYcuXzWWFloTc3NoHdA73na6PWthxAA6pLYAj08snb+HRB37jXN8TssyY3icbI5OVivx3W2Y8Rf0dN1l4Xd7S2ejU2j6C0WImelWPxPr5VvF5HA5HHuyWN1vxXGlwXW2vy3v7ZVTyMdwjaopbCRuNzr5js9/pXGsv5JzsfK8YvOPZZjux2t3H6LEuusXqvMt4fIHeJ6vXVdc4gAdUlsAR6eWTt/Dog79xoTEw9PIx3CNqilsJG43OvmOz3+lHkY7hG1RS2EjcbnXzHZ7/SvJxAA6pLYAj08snb+HRB37jQ4gAdUlsAR6eWTt/Dog79xoj08jHcI2qKWwkbjc6+Y7Pf6VNyfEzHnx8fHw+RycmS267px9BFp0zPVcR8523W84gAdUlsAR6eWTt/Dog79xqLl8Pk2c3jZeHyMVl+PHdjDLhbxtucY9rbiI6fQjv3jdBXwuYc63Pbdx8uC/Dk+Fkx5elZ6bbv8ACpEXHrVSCIkjsa5/hODLZbysvJyY8t/JymRbMbZbHw7LYhbp+XYpXQQREkdjQEERJHY0QREkdjRBESR2NEERJHY0BBESR2NEERJHY0QREkdjRBESR2NAQREkdjRBESR2NauTyePxsXVys2LDjuemctxaL7d6meVyOSNvF4l5Zd/83knRbHr5PmX6JaMb1K1jxmVyCIkjsajyeI4G+/FhsycrILbdZhs6gTdrcxaJ7KP8ysfq/wCP38Qy/iv/APF09OI/3JZ9HzN0JJFV247LMRissttx2nSWhAHtHtUXiEbg5vLG3lZLOPie12Pj3N11/wB70IH2AfUurfx+Fx+MX/Cx+a/577luuv8AbquZWPq1vQREkdjRBESR2NWknynoQREkdjRBESR2Necl1lmK+7LdbbjtFubmAPWfpUb4rxMgmBv5c9j8Pjclq/stx5R+6b79qERM9LkERJHY0QREkdjULk8RziWcbDx7Lv8AFnv67j72W9n/AN/rP0o8DJnH8bzM2Qd48K4bD7dL1a9G5O/2iWtblv5XM4nFLTl8jDhL5gy3lvV773utD4g5ht43D5OZez8TG4rbfaeuFP4S6PbU7+PwuNxi/wCBgsscnz3B5r/rc7ue73fet6CIkjsacnEIWzxLOJfk43GsfLdbZa5bo9y56Qfo2p99Vn9V4L+/KvzcpfmM2RbLvabCLP8A+PpO+9WoIiSOxogiJI7GlGU/Hm3HZZiMVlltuO06S0IA9o9q9IIiSOxogiJI7GiCIkjsarIgiJI7GiCIkjsaIIiSOxogiJI7GgIIiSOxogiJI7GiCIkjsaIIiSOxoCCIkjsaIIiSOxogiJI7GiCIkjsaAgiJI7GiCIkjsahfGPC7htOfxsi9iyzIX3XfQtO6/Qo+JWZBtw8TmZ7vW1wOPt98nSflM1LhrHy0uQREkdjRBESR2NQvJ52UTF4b0H+I5Oa22ft0dc/nH5+hs8UyCuXh4R3jcN2WP97qtn+R/wA6WY7XIIiSOxogiJI7GoXg8m8evxTkjd81tmPEW/YGxY+6/drP6p4j2yGbNb62ZuRkyWP3tuuR/MoVG1HJ5PH42Lq5WbFhx3PTOW4tF9u9TPi3BvH4eS/k2PZu4+K/Nb9lsEn6VuweHcLjXt3H4fHw3XHSuPFbap7djVUIIiSOxpyeqF59+QfheG8zLjdXNtlk/wC7fcXH5lHJ4llEOJxsdl2nJnbrrR97S2F+hdH19auQREkdjRBESR2NC40heP4jkGzLzsNtjtw8bpu/JuuuP5j/AM6PhhkE5PM5mc9By/Dj3/uy2fzn/OrkERJHY0QREkdjSjKUX6n8Pu75eLZyLv2uROa4Pab5Y+lT8zr4/J4vA8P4fGbLseTJ0XX/AArLS26zQW3Hdu9vzK6qCIkjsak5nAeTyMPIx8vPxsuKy+wuxFjJc2qPVa/slWknyme5cvwfi8TFly23eE8HBy+PkMXVhtLiGyyUeku1k9R9ZYrrnJMgHw5L4gWZHpnW/m9JO3dK1cbw2zAZuvPm5F+bIZL78vT3QtNFoasPSd1veLjRGUUYe8xG538p3ZfrRHk5JkA+HJfECzI9M6383pJ27pQ5JkA+HJfECzI9M6383pJ27pXp4uNEZRRh7zEbnfyndl+tHi40RlFGHvMRud/Kd2X60Hk5JkA+HJfECzI9M6383pJ27pQ5JkA+HJfECzI9M6383pJ27pXp4uNEZRRh7zEbnfyndl+tHi40RlFGHvMRud/Kd2X60EubDwubksycjg8fNegW3ZLC96fL6w/tekn1K1W8HgvT8Di/h+uH+zZLsPUeXu/Djqjq+od+5NXvFxojKKMPeYjc7+U7sv1o8XGiMoow95iNzv5Tuy/WpTWUx9QW8TC9Liycy266Gy78Zkuj5e8KjHV7Nvbu0txci7pjxPmeaG3the3l79sff5vSTtsq94uNEZRRh7zEbnfyndl+tHi40RlFGHvMRud/Kd2X60oylBbbyzpuw+IZr7robTNZjusR6ZUsttX5v8LHbu+lLcvil3THJ4fmht/stz28vftk7/N6SdtlXvFxojKKMPeYjc7+U7sv1o8XGiMoow95iNzv5Tuy/WlGUoLcvil3THJ4fmht/stz28vftk7/ADeknbZXLu8V/SJ8N5PiGKzwq7jYPivm+IX3GNuHsKd+l9fzr6N4uNEZRRh7zEbnfyndl+tc+/wHq4ufi2+Jc2zjZ3J1Yj4SRercS2N3+J9ZpRlLNuXxS7pjk8PzQ2/2W57eXv2yd/m9JO2yluXxS7pjk8PzQ2/2W57eXv2yd/m9JO2yr3i40RlFGHvMRud/Kd2X60eLjRGUUYe8xG538p3ZfrSjKUFpzc3S5OffZddHScfHZba2+XvFxer5ti29vSluLkXdMeJ8zzQ29sL28vftj7/N6SdtlXvFxojKKMPeYjc7+U7sv1o8XGiMoow95iNzv5Tuy/WlGUoLeLjy9LkzczLffD1/ir7JPL36caW9ur/CR27tLeFwsnSZMF/Ituhtt5Ga/NbHl7xcpPm2SfUmr3i40RlFGHvMRud/Kd2X60eLjRGUUYe8xG538p3ZfrSoMvLaPBxfD8eSzJg8O42O9+W6zHaMPSPcP3vST3SqjkmQD4cl8QLMj0zrfzeknbuleni40RlFGHvMRud/Kd2X60eLjRGUUYe8xG538p3ZfrVSZme3k5JkA+HJfECzI9M6383pJ27pQ5JkA+HJfECzI9M6383pJ27pXp4uNEZRRh7zEbnfyndl+tHi40RlFGHvMRud/Kd2X60R5OSZAPhyXxAsyPTOt/N6Sdu6UOSZAPhyXxAsyPTOt/N6Sdu6V6eLjRGUUYe8xG538p3ZfrR4uNEZRRh7zEbnfyndl+tBH4jz7sfDLsWG2++/JitstvydJd1X2W90nt5/TqO35Vr4eTlWeI4+JzONx7C/BfdY4szf2t+HaiNlsbNQfT1rPiPh+LPNlzkhcd/Z+Zsm4Ht5u9hvqd9jdasfh11ud5GTk8jl5MdmXGXZCz5blkem3vDYdvNt8p2gO0giJI7GiCIkjsaiy4734k2XMjPaZPPHvOzt5t/KUy4734k2XMjPaZPPHvOzt5t/KUFqCIkjsaIIiSOxqLLjvfiTZcyM9pk88e87O3m38pTLjvfiTZcyM9pk88e87O3m38pQWoIiSOxogiJI7GosuO9+JNlzIz2mTzx7zs7ebfylMuO9+JNlzIz2mTzx7zs7ebfylBagiJI7GiCIkjsaiy4734k2XMjPaZPPHvOzt5t/KV5yd+v16uq33n+87es/bzfwlBe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zWEERJHY1mgwgiJI7GiCIkjsaIIiSOxogiJI7GgIIiSOxogiJI7GiCIkjsaIIiSOxoCCIkjsaIIiSOxogiJI7GiCIkjsaDn2BeWCdRf0qPfq/u+/rP3838RXQQREkdjXPsC8sE6i/pUe/V/d9/Wfv5v4iuggiJI7GgIIiSOxogiJI7GiCIkjsaIIiSOxoJ/Ec93H4V91ltt2S5tx2FxNvVclts/SUn6TXvi8ezi8bHhsbksI6rvmufW5fVXuvqtePEOPfyeJfjxtplG2/H1fL123F1s/SQn6V74vIs5XGx5rC4Lyem75rX1tT0R7J6JU+tf6W6oOAGLJyeCnkxXF2K1/8ASu7n0guL7Q9C0+7fUHADkZOTzE6rM9xZiX1xW9j6I3N9w+pcfYEdSuQREkdjRBESR2NEERJHY0QREkdjVZEERJHY1PyQuyY7Ekd2vefNb6d/8vzKoQREkdjU/JC7JjsSR3a9581vp3/y/MoHDC7CySXdMu+rynr6/wA7vv7UIIiSOxqfhhdhZJLumXfV5T19f53ff23ZLrLMV92W623HaLc3MAes/Sg9IIiSOxogiJI7GoXnvIG3hce/kT/jvHHij36k8w94bS41oZo8HNyBOdy777dFnH6sNv3Yubl3/ij6T3qW1jXbZn8Q42PJdx+r42c7ODF57++pPQ7ndg7kta23n8obb2zh4n9lMmRPbudNr7/MMsPrVeLBhwYTDhxWY8RMWWWhaTvtXnk8nj8bF1crNiw47npnLcWi+3eheoeMHBwYb3JDlzXHTdlyvVenqT6E9+kg9iqEERJHY1C+JY8onG43J5U/sYum1t9y6+Lbj7LM+1E8UzCJw+Oeo9Wfq/8Aoj+sz6eomJ+rkERJHY1Ln8R4WHJdgyZ7LsxvBZ58j/uEr27613rx+rMeT/WuRyeS6i/J02p7NtnTan3GfXtVWLBhwYTDhxWY8RMWWWhaTvtTk9YSPM5GcTi8G+6x/wAfJu+FbcepEN0/e0PrqTx+fnEzcyzDY9+nj4jqPo3XyJ/uk/TVXIIiSOxogiJI7GlGWoR2+FcIvLr8TnutZteRfdmbH93rWPy9j2qxBESR2NEERJHY0QREkdjVSZmexBESR2NEERJHY15yXWWYr7st1tuO0W5uYA9Z+lRvi/h1424+TZyV3ZxxzXR7ttksfXVCImelyCIkjsaIIiSOxqF8RMgmDg8zOf4hxfDj/iNs/lP1o5vEcgtnAw22P+HPyOm78y224/q/8qlrjK5BESR2NEERJHY1C4vFLxnkcOwu3Y8e6+PpPWT94J9ij4dfkG3P4jzMuN+axbLJ/Oy0uPyaFRtcgiJI7Gp+Tz+Fxr/hcrl8fDdcT05cltqn2fStX6o4V3bLjv5Fv7PIy35rR94vUn61Rg4vH42Jxcfj4sOO5ltx2Fov2KcnqmfFeHcPQ5s9j/jw8fJlsu+11tqP86PM5N42nhXJG7sfEvxFv5xesfYfs1cgiJI7GiCIkjsaFxpC3eKZBscHDwju9y3ZY/3em2f5n/KjxOdlEz+IdB6HHwW2z9+vrn8o9d+lyCIkjsaIIiSOxpRlpC+F2ZB/E8rmZ7tS53H29ox9J/Saz+pvDHvdwONfd63X4i66591e6/Vq1BESR2NEERJHY0qDLy2IIiSOxogiJI7GiCIkjsaIIiSOxqsiCIkjsaIIiSOxogiJI7GiCIkjsaAgiJI7GiCIkjsaIIiSOxogiJI7GgIIiSOxogiJI7GiCIkjsaIIiSOxoCCIkjsaIIiSOxogiJI7GiCIkjsaAgiJI7GiCIkjsaIIiSOxogiJI7GgIIiSOxr4/i8nw+/wnwy/H4rfk8QyXcUyY3xC+9ubr7C8bG+NN0kV9ggiJI7GufYF5YJ1F/So9+r+77+s/fzfxFB6tvuuAvuUW3qF9fJ2de728u/laW33XAX3KLb1C+vk7Ovd7eXfytXIIiSOxogiJI7GghtvuuAvuUW3qF9fJ2de728u/laW33XAX3KLb1C+vk7Ovd7eXfytXIIiSOxqXP4jwsOS7Bkz2XZjeCzz5H/cJXt31rvRYiZ6a7b7rgL7lFt6hfXydnXu9vLv5Wlt91wF9yi29Qvr5Ozr3e3l38rR8RMgmDg8zOf4hxfDj/iNs/lP1o5vEcgtnAw22P8Ahz8jpu/MttuP6v8AyqWuMlt91wF9yi29Qvr5Ozr3e3l38rS2+64C+5RbeoX18nZ17vby7+Vo4fFER5nDR2PEu/8AJR4PJvHr8U5I3fNbZjxFv2BsWPuv3aFRstvuuAvuUW3qF9fJ2de728u/laW33XAX3KLb1C+vk7Ovd7eXfytHwwyCcnmczOeg5fhx7/3ZbP5z/nR8J4yI5OYjseZm/wC6nJUbLb7rgL7lFt6hfXydnXu9vLv5Wlt91wF9yi29Qvr5Ozr3e3l38rWf1Rwbv77B+I9vxN92bp+3Wsfl9Kfqbwv/AGbw/wDgW/8ASnJ67QeN5stngPiF9uW+2+3j3PUXIl3TbHtD3/d/halyZ/DDxDw2zw7xRz35OT05MZ4hfmLrOi972t8RJb/99PZ/U3hf+zeH/wAC3/pT9TeF/wCzeH/wLf8ApTk9dsW33XAX3KLb1C+vk7Ovd7eXfytLb7rgL7lFt6hfXydnXu9vLv5Ws/qbwv8A2bw/+Bb/ANKfqbwv/ZvD/wCBb/0pyeu2Lb7rgL7lFt6hfXydnXu9vLv5Wlt91wF9yi29Qvr5Ozr3e3l38rR8I4iNo8m2zRZZysttoexaXQH0O1HwnjIjk5iOx5mb/upyeuy2+64C+5RbeoX18nZ17vby7+VpbfdcBfcotvUL6+Ts693t5d/K0fD80NtvifMts0Wpjug9pusV/NWjxOdYJi8Q+IXfMcnBbf8Ay6Oj+s/l6io2W33XAX3KLb1C+vk7Ovd7eXfytLb7rgL7lFt6hfXydnXu9vLv5Wjb4pYM3cPkj2bGy7D+czfP2j137nlcywbc3hl+Rf8A9Plsvtj2ettZ/KPrSzEtvuuAvuUW3qF9fJ2de728u/laW33XAX3KLb1C+vk7Ovd7eXfytHxTjAmbHycXpf8AE49/Tb7zdHTB7zH1iqcHJ4/MxN3HzYs+OelcdxcT7dvvVtJ8ZjtNbfdcBfcotvUL6+Ts693t5d/K0tvuuAvuUW3qF9fJ2de728u/lauQREkdjRBESR2NEfMfpDmus4N7kz5MVl9+C3LeXtnZut6hQE7L2+q9H+Ks287Bi8Z42Hw/k28u/Pgy2uK/nt1nZs6Fm67/AA9WhWZjcdfxLtPp1dNv8XzdvSft5v4feTH0ZbPgZsOPNii61syW9Q9h6Yhj5TsQ/uGwK+Xz7uPfh4nw7M3KzW9up+FjX17svo9jqfft3qP9acv8Zm4WPjWcnLb1Nzfl+HZFttiwFqw9emfv7WZTHfxnj5cOPPh729GQ6y+OqBmZfKe79CtVnG4+DLdlx4S6967G66665vIRNveMdupfoTQR8zxbkc7wjl5eHx7bMNvHm/Jdmbb7bmwui0LWYE7yVTm8bsw8GzkZeOtl1+XHdaXSxYX/AM56NfWvGTwzhNraYbujpcTZZmyW25LbS4BLbouQtCfNd9Cs3eG8L4t2R4/X5skWOS9sVLy4LZbRY7wL3ZCk/gly+L8zi87Ocril2TLZitx4MeS/LaT8RVixdW+lro/Lo/rDkX+G2c14ttlgXfHw51xoG0bg9tXFsidypnwrhFl9vwb726757s+RvenrgLupRNeVWFEKocGDoxWX4jPbhuucfxrrsnfze6ynSd+9x37FBsy8+67gWc3Bjsu4/S3ZLMz8N6fcXyvrvszPVG+b+uLcvHs5H4PknH5BYY8r0Jf8RS22C5WG/uRdEPlO09LkGPPdZdmw483wrrmwuJJOrR3JOk7kvd7E1wbOHyXg4OE8jFfx8ZhMcYXrv+HcLL1XF2nsFweoRQfTvIx3CNqilsJG43OvmOz3+lHkY7hG1RS2EjcbnXzHZ7/SvJxAA6pLYAj08snb+HRB37jQ4gAdUlsAR6eWTt/Dog79xoPTyMdwjaopbCRuNzr5js9/pR5GO4RtUUthI3G518x2e/0rycQAOqS2AI9PLJ2/h0Qd+40OIAHVJbAEenlk7fw6IO/caD08jHcI2qKWwkbjc6+Y7Pf6UeRjuEbVFLYSNxudfMdnv9K8nEADqktgCPTyydv4dEHfuNDiAB1SWwBHp5ZO38OiDv3Gg9PIx3CNqilsJG43OvmOz3+lHkY7hG1RS2EjcbnXzHZ7/So8vI8P42T4OfxDjY77IOjJkttQ8vZJImNEHfTXg5fEA6Hk5LCC26ziZbrbrfLptthHp/w+VnTUuGsfLS95GO4RtUUthI3G518x2e/0o8jHcI2qKWwkbjc6+Y7Pf6VAZm4Pw/C5mey2LZ+Fbig8skX3Wv8Ah9At76YaGTkAH6s5iWwBOHXlk7ZP3dEHfuNLMZXvIx3CNqilsJG43OvmOz3+lHkY7hG1RS2EjcbnXzHZ7/SoDD4oAfheGlsAfibteWTtj/d0Qd+40MPigB+F4aWwB+Ju15ZO2P8Ad0Qd+40sxl5yeOhxORyTwzm5OLh+IX5D4QJYpc9LeXf4X0mui8jHcI2qKWwkbjc6+Y7Pf6V85d4V+kR4byfD8V/hVvGz/FPN8RvtMjcvcA7dT6flXUMPigB+F4aWwB+Ju15ZO2P93RB37jSzGV7yMdwjaopbCRuNzr5js9/pR5GO4RtUUthI3G518x2e/wBKgMPigB+F4aWwB+Ju15ZO2P8Ad0Qd+40L+TYFt3hvJubYt8l2JtTyzHnGHp9rTv3tpZjK95GO4RtUUthI3G518x2e/wBKPIx3CNqilsJG43OvmOz3+lQGW+wPi8DmY8dsHV0WXweXt02XN3fp1aR37lDl8YA6eYlsAfgc2vLJ2t/d0Qd+40sxle8jHcI2qKWwkbjc6+Y7Pf6UeRjuEbVFLYSNxudfMdnv9Khxcvw2++zFj8S4l9ylllpltVPL2gfXp0Qd9NWHEADqktgCPTyydv4dEHfuNVJiY7enkY7hG1RS2EjcbnXzHZ7/AEo8jHcI2qKWwkbjc6+Y7Pf6V5OIAHVJbAEenlk7fw6IO/caHEADqktgCPTyydv4dEHfuNEenkY7hG1RS2EjcbnXzHZ7/SjyMdwjaopbCRuNzr5js9/pXk4gAdUlsAR6eWTt/Dog79xocQAOqS2AI9PLJ2/h0Qd+40Hp5GO4RtUUthI3G518x2e/0qS7xS6/Nnw4PDeXyLcVxZfdb8O0lttuiL7x1celUnEADqktgCPTyydv4dEHfuNc443N4nL5H4Plca3FlyWqZeO3NtxZjsO5faaBiB9hoOnxORj53Bw8my1MefHbktLzvFxPf+dbkERJHY1L4Zxvw3hPE4tz1/CwWY1bUmLQ01UgiJI7GgIIiSOxogiJI7GiCIkjsaIIiSOxoCCIkjsaIIiSOxogiJI7GiCIkjsaAgiJI7GiCIkjsaIIiSOxogiJI7GgIIiSOxrNYQREkdjWaDCCIkjsaIIiSOxogiJI7GiCIkjsaAgiJI7GiCIkjsaIIiSOxogiJI7GgIIiSOxogiJI7GiCIkjsaIIiSOxoOfYF5YJ1F/So9+r+77+s/fzfxFdBBESR2Nc+wLywTqL+lR79X9339Z+/m/iK6CCIkjsaAgiJI7GiCIkjsaIIiSOxogiJI7GgIIiSOxqXN4fgy5bs1vXhzXbyYb2xU03R2uj0LhK28mzPfi6ePkxWXT3cuNvE9oLipnD4oiPM4aOx4l3/AJKjUf8A1PwOHZzcF2Tn5MvLTNlx9OW7yNtt91pNhFrqZSZ+xHWQREkdjXG8MxeI3cTIW8riFryM4l3FuZfi3T/8zUz/APeujgx8wvfxWfj5caR048DYz9297flSGvPueVCCIkjsaIIiSOxogiJI7GiCIkjsarmIIiSOxr4rk/pva+P/AKsyeHLZZyXjt5kbli8Oro6Wda37JX2qCIkjsa/HsnV/8fX9Ftt1360YtuYF+LpYe35UH6bx3m8m2+zHZbxsSg5ckX33nSE2hJCaubrtQjVFvhnHbzJyR5eW1kyciLm1/dI6bfT5QmCZqbh4fEeRhXLyMPHsydM24cfXd8pq+7sz9bX2n1r3yOH4bx8Zk8Sy25LVieZm6rG73LbnpHeg9Y7VHT8/6bHxbgXiYs34k/xHHsuzR9+gY/Pfejm5+cTHwrMNj5V5OU6j69NkifTqJ+m6Pi3AvExZvxJ/iOPZdmj79Ax+e+9Hn35B+F4bzMuN1c22WT/u33Fx+ZQqvn/I8LkZxOZzb7rHs4+Pb8K24+rLdP2uD6bndg8P4vHvb8eG34lx03Zb/Pfcezcyprb6FaXJ4llEOJxsdl2nJnbrrR97S2F+hdH19aPH8RyDZl52G2x24eN03fk3XXH8x/50Tn7P9/suQREkdjRBESR2NQvhrkG3k87mZ7P2W+3H/XGWv5TFZ/U/h93fLxbORd+1yJzXB7TfLH0olRt7z+JeH4Ml2Hkc3jY7z5rMmW0SfcWtb4nguG23BzL7nsWvEyW9X0m60D80KrxYMODCYcOKzHiJiyy0LSd9q9oIiSOxpyeqF5fLyDZZ4XmtufXPkx22fm23XP8AR/50TxTMInD456j1Z+r/AOiP6zPp63IIiSOxogiJI7GlGX4heHzMo/G8RvtddPHw2W2p9S8vZ/OPpR8KwXD8TNzL7n5l5WS3q9+xcB9gCrkERJHY0QREkdjSjKUdvhHhtl5dZ4dxLbrWRMNoj/KrEERJHY0QREkdjRBESR2NVJmZ7EERJHY0QREkdjRBESR2NEERJHY0Q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c+wLywTqL+lR79X9339Z+/m/iK6CCIkjsa+I8T/SDl+FeGeHczk3YM346yzMYbOOhAY24b3I94iLm1ftQfYcrk48BbZfbfkvySW4rLeq67/odwlgJJStD+P5QxbZw8T2S8MmRPXT02vt8wySelaf0dz4Od4ZZ4hhctzyW666/N83a5ICWLRmCew+611ajVxHSH9V4L+/KvzcpfmM2RbLvabCLP8A+PpO+9VYcOLj4rcWDFZix26sstLQ/IrZSrSTMz2UpSiFKUoFKVwvG/F+VwfFuDw+P8O2zkWX3XXvGvz3HTERbYjQd2lfI8/9IeZbzcXGw5wus5ePFlTj9BdbdY3R5rrn/JNV0vBfFc1/6KcfxLmrmyNjdkRssnzJPdttP5lPln47lK+U5v6TvKx8LJ4ZkuxF3N/D5i4suk6V7Iomu415v8c5+P8AQLD4l1t/LyQOUtt8s3xMdjXbW4oPraV81i/SfDwjkYufkzX5MOSzEW5LMeO9brZ73F/Qx6vlPvWjL+lmK/n8LkYs11nAcedz2Ntq9Vh27k/lDDNP7/I+spXyln6U3YPEudl5tmfFw8eHDdiwX22dc3/UfX6vb6V9FwOWc7i28izHdZZf8s32XSe42XJ/WgppSlApSlAqbk+H8Pl39fI42LJkDpMjaddp9Ltn5VTSixMx0geBkxD+E5maw/8ATzrmsfeep6tehcH9ZPK5GAbeZxL77PXLxzrtT62fML7BcE7e8X0qUuW02Yw5sNmUbb7L2yLi7tfavb1JO727nfTqtHF4+NvOqyYsbWfZtt8r213fL5T931ri/pH4xxfAeWYsee2zLymxyYslt91mO1vZygIftTaPmYfebvDcvIeZw7MnI4/J43J4d+XHdj47jYHEHZuYEu0BVSY07Dgxs9VszMyzJ37Pud3tqjgxs9VszMyzJ37Pud3tqvaCIkjsaIIiSOxojw4MbPVbMzMsyd+z7nd7ao4MbPVbMzMsyd+z7nd7ar2giJI7GiCIkjsaDw4MbPVbMzMsyd+z7nd7ao4MbPVbMzMsyd+z7nd7ar2giJI7GiCIkjsaDw4MbPVbMzMsyd+z7nd7arn2YMd/R1W9fX03MvV1nk3vqO7+0H7RXRyXWW2f6S60tUt8z2VYD81iobAvLBOov6VHv1f3ff1n7+b+IoOggiJI7GiCIkjsalz8luyXcXjW/EzaubrVx45/adLCeWZZNDJ4/VuPN5udkv5dzu29jF9vhnlQddUuu7BUarbD4pxso28Uv5q9o49vXa+43/IMein9Si+JZxDFxuNY9xyLluj2bTpB+1yffdX0oXHyED4flyicnn8nJZd8+Ozpx2v0G06g/wB77r3rP6n8Pu75eLZyLv2uROa4Pab5Y+lXUpRlLXhw4uPitxYMVmLHbqyy0tD8itlKVWSlKUClKUClKUClKUClKUHm+yzJjux5Lbb7LhLrbiRH0Sonwbw2Ho4WHFd+3ht+Hcfa62E/nV9KLEzHSB8NbRtw87mYrHdrfbln88hc/lMUTxSwROHyi7Y9WGP/AK5n8vzntfSpS5T9QPieGwTm4c3EHbntOiPrfatp7Qo/zJstuszYi6y62/HeSIyXD/mV7qLJ4Zguvvvw3ZONkvVuuw3QK7Wxm25fdF/kUOJWIIiSOxqPLDnunudRay6ls7b9faSf2bqW8m/DeYOeWrexblsxpjvn0d9LPaF7yQyoMsOe6e51FrLqWztv19pJ/ZuqpMUowWn4bHa29ugESPT2g/yPtWxBESR2Na8Fp+Gx2tvboBEj09oP8j7VsQREkdjRBBESR2NEERJHY0QREkdjRBESR2NAQREkdjRBESR2NEERJHY0QREkdjQEERJHY0QREkdjRBESR2NEERJHY0BBESR2NZrCCIkjsazQYQREkdjRBESR2NEERJHY0QREkdjQEERJHY0QREkdjRBESR2NEERJHY0BBESR2NEERJHY0QREkdjRBESR2NBwcHi3EzWYHp5Hw87j6b7+LlLLm5sLZubU7uln+IrvIIiSOxr5vj4fEb/C/D/DsvH4hjxfh+rJbyLrlMd2NYt6O8/Rg9WvpEERJHY0BBESR2NEERJHY0QREkdjRBESR2NAQREkdjRBESR2NEERJHY1Pzc92Oy3Fhttvz5XpstuJAk6rk9gZ9J7EylFiLafCQeFkEkeTyJH/wD631cgiJI7GudgxHhmS3Bdffk4ubt15WW3J2If4+76eadtwV0UERJHY1IXy7sQREkdjRBESR2NEERJHY0QREkdjVZEERJHY1+OciD9Osst9p+smWy3quP9L6EMv0h+1fsaCIkjsa/JuRyODi/Te/Jbx8xks59y3ZOVbbZ1/E7XL8Py27k7vffbuH6B4bxeBz7M2Rt5GT/SBlxcm7LBd0WsXY7+3qJM+kPt0cHh3C417dx+Hx8N1x0rjxW2qe3Y1XO8P8Mxcu/lcvxLg8O/NyMtt9pBl6bfh2AdTaTpe3bvVn6m8L/2bw/+Bb/0qU3fHMy95/EvD8GS7DyObxsd581mTLaJPuLWt8Y8KRHxLho7HPb/ANarxYMODCYcOKzHiJiyy0LSd9q9oIiSOxpynqhfGPCkR8S4aOxz2/8AWj4x4UiPiXDR2Oe3/rVyCIkjsaIIiSOxpyeukL4x4UiPiXDR2Oe3/rR8W4F4mLN+JP8AEcey7NH36Bj8996uQREkdjRBESR2NOT10hfFOMiOLmI7HhZv+2j4pxkRxcxHY8LN/wBtXIIiSOxogiJI7GnJ66QvinGRHFzEdjws3/bR8U4yI4uYjseFm/7auQREkdjRBESR2NOT10hfE8WQbcXG5mW91Y8a+yfzvC0/No83kIj4TzEdjdh/8lXIIiSOxogiJI7GhcaQvN5CI+E8xHY3Yf8AyUebyER8J5iOxuw/+SrkERJHY0QREkdjQuNIXm8hEfCeYjsbsP8A5KPN5CI+E8xHY3Yf/JVyCIkjsaIIiSOxoXGkLl8SvGODxiy7VuTkpdHshYk/ZT6tHJ4oiPC4aOx5V3/jq5BESR2NEERJHY0LjSFyeKIjwuGjseVd/wCOjk8URHhcNHY8q7/x1cgiJI7GiCIkjsaFxpC5PFER4XDR2PKu/wDHRt8UyjN3D45psbLs0/WZs/lH5+1yCIkjsaIIiSOxpRl+IXD4oiPM4aOx4l3/AJKOHxREeZw0djxLv/JVyCIkjsaIIiSOxpRlKFw+KIjzOGjseJd/5KOHxREeZw0djxLv/JVyCIkjsaIIiSOxpRlKF4/iOQbMvOw22O3Dxum78m664/mP/OjwOQiPivMR2NmH/wAdXIIiSOxogiJI7GlGUoXgchEfFeYjsbMP/jo8DkIj4rzEdjZh/wDHVyCIkjsaIIiSOxpRlKF4HIRHxXmI7GzD/wCOjwOQiPivMR2NmH/x1cgiJI7GiCIkjsaUZShfCeMiOTmI7HmZv+6j4TxkRycxHY8zN/3VcgiJI7GiCIkjsaVBl5bQvhPGRHJzEdjzM3/dR8J4yI5OYjseZm/7quQREkdjRBESR2NKgy8toXwnjIjk5iOx5mb/ALqz+p/Dnvk4WHNd635rfiXv3uulfzatQREkdjRBESR2NKgy8tov1N4X/s3h/wDAt/6VwOZ+ifh/iNnFx35eZbjxWxjstz3XAJjPKXdUB+7J73du31iCIkjsa59gXlgnUX9Kj36v7vv6z9/N/EVUmZntp8P4T+j/AAsfF45n5XDsmJ6XJjlVe0dVvd7B1TqZ7dDjczByuow3zdZHXZcNt9k6m1hJ9JO9bkERJHY1p5PD43L6XkYbMl1k9Fyeax97Xdr2O57VFuPrfSofwOfF/qvPzWh8uPMGWz6yvnf/AHf07U+L4jh/vOPh5Npu7Df0X3fay7sfnf8AX6Usx1K6lQ/rLo/1jhczDPy/6L4s/wDDbo/OP86frjw47ZObhw3etma74d597boT8ylwYzpdSlKrJUefw3Dn8U43iF12Qy8a2+2wE6Uu3ParKUHFz/ozws/Ov5d+XkGS/PbnQutjqttbQ1qGvb+jvEfA8XhPxM5hwpdZeXHWJdI6h/lXXpQcM/RfiNxdk5PKyX/ifxTdddbN18R6WxFbn9HuI+AWeDOTP+HsiLuo6+13VuI39K61KDi5v0a4eblZuV8XkWcjJmszW5LLicd1pB09oiNjNZ5v6OcfxFx3c7k8nkXWY78Y3Nlslx+7aa9P+ddmlBxMf6N4cd3Iuebyr78+O3FfdktxXeS3RDZH8yrvCfC+P4RxHjcbq6W9vubolX6AB9gCraUClKUClaeRyePxMZk5OfFhsWC7JeWi+0tT/rfhXd8WS/kW/tcfFfmtH2mwSfpS1jxmeoXUqH8dyL/7rw3kpd8t991llr7L5uoP92T2ntTp8TzfNk43Ft022WuW6PcuekH72uvXVS1x2uqO/wASw/Eux4LcvKy2ra24LZBNjcxaJ7KP8yvP6rxZP9cy5uZ+7muOhPZstC195Rf5EV247LMRissttx2nSWhAHtHtQ4h8n+kX6IZfHOXj5vJ8Rtw39FuP4duIutt8zAKk/N691nUgdHwrwTj8c4pffyMmTj4TH1PIy9OrFOluQFPlY+zE12eRHwwdN1oy78x9T/8Ar0dVPxbRutG2Qs6UjXls7a7fby/w+tVLbzjYzkX5pyN150trkubI+lq9Jr0P868HEuOLfgOXn8z5b3puusP2SbWT63S991QgiJI7GiCIkjsaFy0X8e+8wn4rMFnzhbZ/pdfNNv8AlG69GG78Rfkuz5LsdxHwUt6D6naf5vrW1BESR2NEERJHY0LTnFy/hb8N3Nz3XXP9624+oPYOnpj7nrWb8OZMJZyJLe2QyYy74h2nUQ9t67vZ7RvQREkdjRBESR2NC0nKuyY3J8ct5HGyHRbgs47dcqabpiHvsDuS1+c/pF4Fyf8A4e8M8SxZeRyMd2G3Jn+Lkt6cTcWFpbb2gdevYK/UUERJHY1w+P4R4ZZfhvx+HcS286W263BbP+Dudn3e/m/iKi38bf0S4PI8O/RzicTmY/h58fX1W9QxN9ydztpK7Fc+xv8ADMduK6214OMLbck+bDb6FxHe0/amQiTs3VdZfZkx25Md1t9lwNt1rIj6jVSYp6pSlEKUpQK+W5viniPH5XM8NM8crLysRxMnRb5cd++0d+npu7tfU1Lk8O4mXxDFz8mEu5WG1tx5JZtHf0p9PjjXfpLPiBwTDbfZkcmO3kYsl1wXW2z3Wwtn+FYrjeD/AKUZuJwcFnI+Py8t3HsutL8pF192RtO/TJ91ftX1GP8AR7wvFyLc9nGbb7b7r7T4t/Tbdd8yWzBP0K8H6M+D24/hnD8vwzGf6S+S0u6iGezPed0j9J/HI4HjXK4uXxR5LjyZfx3wseG/PkuDy/LZFly/YtKyfpFz+dy/BbuFhsx2cpzW5MOW+Oq6w03dCgb130ldj/4c8LB/0GTq+L8b4nx8nX1xE9XVOvrXo/R/wy3DgxWYL7LePdddibM19t1jd80XDPf70gRcT9Jb+ZzzDh8OzX8Zz3YXNaXvSn+J8nTE/vT9Km/SrxrkY8HiPC4Njbfx+PblycgytjZL2LQO7+ZXaw+EcLBybuRgsyYr77/iXW4819tl13u2D0v8q88/wPw7xHLfl5WC66++wx3tmW+zrtGQS1J/OpMcUsduVZ+k2Qz/AIbB4fn5Zg+HZlvsL7rpQlAsTtPrcTXjw/x3n2YfFc/N/DXYuPy78VjflbYhIsC3Grvs919q7L4LwfxDyLMeTFlS0uuw5r8fWW66i1Or8615f0f8MzOfr49yZ7/iZLTNeWt8j1AMF3bZ3rU9sx05GT9J8nIx4YwZePk/GPFvttvg+WZ81nVH0i1qXwX9Kb+PwfDOLyguyZ8fV+J5ea60vepILum6U+qV9Db+j/hlof2e5TN8ebst9y5IjqVZe1Lf0f8ADbcOLAYcnwMUdOFz5HH2ZJt6oe/uVIWXUpSlApSlApSlB5vssyY7seS22+y4S624kR9Er5vwjDyfEXnmTxPl4zi8q7jWdJjVtsts7rdaqsS94X0rsfisnN8vAvscL2u5RdIfwEJc/XQ/tQlRZPBvC3L03eH8W8tbLJyY7bmAxlor3127p9rqjU8RUrfBsl3I8D4GXLF12TjY7rotAVtJ7HarUERJHY1q42O2ziYsZYW2GMtLS2AI1EH+R9q2oIiSOxqsiCIkjsaIIiSOxogiJI7GiCIkjsaAgiJI7GiCIkjsaIIiSOxogiJI7GgIIiSOxogiJI7GiCIkjsaIIiSOxoCCIkjsazWEERJHY1mgwgiJI7GiCIkjsaIIiSOxogiJI7GgIIiSOxogiJI7GiCIkjsaIIiSOxoCCIkjsaIIiSOxogiJI7GiCIkjsaDn2BeWCdRf0qPfq/u+/rP3838RXQQREkdjXPsC8sE6i/pUe/V/d9/Wfv5v4iuggiJI7GgIIiSOxogiJI7GiCIkjsaIIiSOxoPHIy48HHy5czGLHY3XqTFoS9q0cPBeuXkcm2M2bs29ktsF6bfaYWd917xFeb8d3L5qZbE43HY6LztlvgS76lvpvvPYbRqxBESR2NRrqKeM+HHyMGTDlt6seS1suJiRIa0cPLfc5eLyXqzYu6wRfYr03e0oI67j2iKqQREkdjU/N492ay2/D0mfGzY3aSTqsfpcEaY7MSFCNSoQREkdjRBESR2NeMOQz8ezI477DJYXNmS2LiTSe9e0ERJHY1WRBESR2NcHP+jPg/6zs5hw/wC03Zfjt3xL1buu1mJe3d9I+pXeQREkdjU/JC7JjsSR3a9581vp3/y/MoJOJ4T4bfht6vD+JcAFs4bXt0j27e6+r962vhWCHpzcy270XlZLo/K65H7IlbuGF2Fkku6Zd9XlPX1/nd9/ahBESR2NSoay8toXg8mGPFOTc+luTHibX6IWCn2T7lGzxS0Vy8POeuNw3Y+r/e6ro/k/86uQREkdjRBESR2NKMpQubxG0XLwMN9nrbh5HVc/YuttP5p/yo+INo/ifD+Zise0tluWfpGNuf6RVyCIkjsaIIiSOxoXGkL4twYfjZL8Fj26uTivxWv0m8BfpW/j8zic0vONyMPILfmMd5dE+8fnW9BESR2NaeTwuLy+n8VxsOfonp+JjLoncTTk9W5BESR2NEERJHY1C+D8GG3HivwWO7OPlvxWv1bbEF+tHw1tG3DzuZisd2t9uWfzyFz+UxQqNrkERJHY0QREkdjULx/EbRss52G+z3z8bqufu23Wn9D/AJ0bvFLRscHDznre5bsfV/u9N0fzf+VLMdSuQREkdjRBESR2NQvM5MNt/hXJudXdF+JtftN4p9w+xR8TwQ25MHMtu1da8TJdHuSWo/kpSzGVyCIkjsaIIiSOxqF8Y8KRHxLho7HPb/1q5BESR2NVJiY7EERJHY0QREkdjRBESR2NEERJHY0Q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fO4OZzr+Bw+Zm4XG/DclwdUcm667z3Y7RhshjttX2a+iQREkdjXJx+BFnG4/Gu8R5mTjYHG24bzFCWI2ilkx5T1oLjkmQD4cl8QLMj0zrfzeknbulDkmQD4cl8QLMj0zrfzeknbuleni40RlFGHvMRud/Kd2X60eLjRGUUYe8xG538p3ZfrQeTkmQD4cl8QLMj0zrfzeknbulDkmQD4cl8QLMj0zrfzeknbuleni40RlFGHvMRud/Kd2X60eLjRGUUYe8xG538p3ZfrQeTkmQD4cl8QLMj0zrfzeknbulDkmQD4cl8QLMj0zrfzeknbuleni40RlFGHvMRud/Kd2X60eLjRGUUYe8xG538p3ZfrQQW8Dwu7pjwrh+aG3/AENr28vfsd/m9JO2ylvD4t3SYzk2W3Q2W2cvLbaW+XRbdAHV/hm0jZV7xcaIyijD3mI3O/lO7L9aPFxojKKMPeYjc7+U7sv1qVDWXltBbx46fwvK5mHrh/vvi9R5e/nL9dX+Ht7vstxci7pjxPmeaG3the3l79sff5vSTtsq94uNEZRRh7zEbnfyndl+tHi40RlFGHvMRud/Kd2X60oylBb+Ot6fgc74nXD/AGnFbf28vc+H0/tfvHY7lLcvil3THJ4fmht/stz28vftk7/N6SdtlXvFxojKKMPeYjc7+U7sv1o8XGiMoow95iNzv5Tuy/WlGUuRzud4pxPDuRyzNw7/AIWJy22/h7jqAHZkffZJ9a138r9JMHJ4mPlHhVtnJy/CLsVuW9tem66Y7elr611uZ4bh5nCz8XJdkLM9jZciTCB6jL22y1ou8Iuy58GTk+IcrkmDJ8S2zJbi6eqE7xYOrmlGUvFuXxS7pjk8PzQ2/wBlue3l79snf5vSTtspbl8Uu6Y5PD80Nv8AZbnt5e/bJ3+b0k7bKveLjRGUUYe8xG538p3ZfrR4uNEZRRh7zEbnfyndl+tKMpQW2crJ0r4jyS6+ELLcXTD0zB0LHm97jt3upbi5F3THifM80NvbC9vL37Y+/wA3pJ22Ve8XGiMoow95iNzv5Tuy/WjxcaIyijD3mI3O/lO7L9aUZSgt4mHJ0t2TmX3Xw9X4zIdU9MsWsf4v8J0/UpbweDk6ficX8T1Q2ficl2eB6ZTq6o+b/D27Evte8XGiMoow95iNzv5Tuy/WjxcaIyijD3mI3O/lO7L9aVBl5bS8bBwsF/VxuBx8V2QCceO0W16Z0dzv6Sdu6VQckyAfDkviBZkemdb+b0k7d0r08XGiMoow95iNzv5Tuy/WjxcaIyijD3mI3O/lO7L9aqTMz28nJMgHw5L4gWZHpnW/m9JO3dKHJMgHw5L4gWZHpnW/m9JO3dK9PFxojKKMPeYjc7+U7sv1o8XGiMoow95iNzv5Tuy/WiPJyTIB8OS+IFmR6Z1v5vSTt3ShyTIB8OS+IFmR6Z1v5vSTt3SvTxcaIyijD3mI3O/lO7L9aPFxojKKMPeYjc7+U7sv1oI/Eefdj4Zdiw23335MVtlt+TpLuq+y3uk9vP6dR2/KtfDycqzxHHxOZxuPYX4L7rHFmb+1vw7URstjZqD6etV8rw7HyePdi+LlxzfZeX2J1Wtraj3Ee9h3R9a8YPDXHy7eTn5vI5V9uO7FaZTGAXNq/Lafsm6C5BESR2NEERJHY0QREkdjRBESR2NAQREkdjRBESR2NEERJHY0QREkdjQEERJHY0QREkdjRBESR2NEERJHY0BBESR2Nc+wLywTqL+lR79X9339Z+/m/iK6CCIkjsa4eHxXwzNfZit5/EyX33WW9BmtubrvJBEsv/u/iKDuIIiSOxqS/wANw/EuyYLsvFy3Lc3YLoFdrazar7ov8iqbr8aXF11sCWovq+n9T+dLr8aXF11sCWovq+n9T+dFiZjpJ8TxHB/eYsPLt2uF+Hf9i25R+7cfbt3frbh2duTl/CXfs8k+HL6gva6Pe1TXuVXdfjS4uutgS1F9X0/qfzpdfjS4uutgS1F9X0/qfzqLcfYZsvsyY7cmO62+y4G261kR9Rr1UOTw7w27Jfk/D4ceVu82XH/o8hc/vWwiz795+teXhGOTB4lysNohdb8S3J5mPXIXJs7TH070KjboUrnuPnY5ts8R491tqWzn4/VfLHZbbrT1I7Hp96OfxG2Rw8G/pS1v/E3WS9o8vQxMnaXe2lmOpdClc95vLxT8bg239y3+zci26Ht2u6+iJkiJ/LtJ8Sykz4ZyuyWv+kw9liD+8+p/OlmMuhSue+M8QmbeV2S1/seXssQfL9T+dHxniEzbyuyWv9jy9liD5fqfzpcGPlp0KVw8n6X+BYsl2PJzui+xbbrbsV42psTpqx8Z4hM28rslr/Y8vZYg+X6n86XBj5adClc98Z4hM28rslr/AGPL2WIPl+p/Oj4ney2eHcq60Q6urFbMxHa68SZOyD31SzGXQpXPedyr5MXAcd1qC8nPZbbLHabG9nudo/P3PJ8RJni8Hslr/bLuyxB/d/U/nSzGXQpXPbfEGS/xDiW2yW3NnGS4WNLeg9yJHZ2aPDbpM3inKyWCW3WdVlndiDqsttuNmk/rQqNuhUP648Pu7YuVZyLv2ePOa4PeLJY+teXwvwxlzYMWe4S1u5L8a4WItm+U3r6/Wrbr8aXF11sCWovq+n9T+dOT1SfG8Qz9sXFs4tuuvkXF1w/wWMJ6fMfbt3fq3Hm83OyX8u53bexi+3wzyoOuqXXdgqu6/GlxddbAlqL6vp/U/nS6/GlxddbAlqL6vp/U/nSjKfj0giJI7Go8sOe6e51FrLqWztv19pJ/Zuqq6/GlxddbAlqL6vp/U/nXL5niXh/H5t+Hk87jYsg97Mma21B6HS9iPSSfa6qy6WC0/DY7W3t0AiR6e0H+R9q2IIiSOxrTxLseXhYbrG2/HfjtbW3SJ6djt+RW5BESR2NAQREkdjRBESR2NEERJHY0QREkdjQEERJHY0QREkdjRBESR2NEERJHY0BBESR2NEERJHY0QREkdjRBESR2NAQREkdjWawgiJI7Gs0GEERJHY0QREkdjRBESR2NEERJHY0BBESR2NEERJHY0QREkdjRBESR2NAQREkdjRBESR2NEERJHY0QREkdjQc+wLywTqL+lR79X9339Z+/m/iK6CCIkjsa59gXlgnUX9Kj36v7vv6z9/N/EV0EERJHY0BBESR2NEERJHY0QREkdjRBESR2NBr5GbBx8TfycuPFj03ZLgO/aO9DNgyZr+OZcd2W0G/H1DcD7lcr9LuJn5vgGbHxsTlyW3WX9Fu7i24WPdj0rjc3BzOZzPGObxHlcTHlx4seO+7jZS69O6dIdYejcFB9kgiJI7GiCIkjsa+Iu/XObjcG3Ni5fF4zdltzXWfiMyv+G5t6jKWveBfuVbwuH4jn8Z42LNzvEL+Jj4dt12XouxW5by/VxdpTZtPvQfVIIiSOxogiJI7GiCIkjsaIIiSOxoCCIkjsan5IXZMdiSO7XvPmt9O/+X5lUIIiSOxqfkhdkx2JI7te8+a307/5fmUDhhdhZJLumXfV5T19f53ff2oQREkdjU/DC7CySXdMu+rynr6/zu+/tQgiJI7GgIIiSOxogiJI7GiCIkjsaIIiSOxoCCIkjsaIIiSOxogiJI7GiCIkjsaAgiJI7GiCIkjsaIIiSOxogiJI7GgIIiSOxogiJI7GiCIkjsaIIiSOxoCCIkjsaIIiSOxogiJI7GiCIkjsaAgiJI7GiCIkjsaIIiSOxogiJI7GgIIiSOxqF8F8LRjw/jWvpdZiLbj6idx+pVyCIkjsaIIiSOxosTMdIXwrBD05uZbd6Lysl0fldcj9kSjwuXaLZ4nmvu/Zz4sd1j9y221/qf8AKrkERJHY0QREkdjUpcpQtnilorl4ec9cbhux9X+91XR/J/50eRz7B+N4fZkse3Tx85fd+ZeWkfn+VXIIiSOxogiJI7GlGW4QviDaP4nw/mYrHtLZbln6Rjbn+kUfFuBCZ834cdHJsuw9X26wn8verkERJHY0QREkdjQuNNWDk8fmYm7j5sWfHPSuO4uJ9u33ragiJI7Gp+R4fwuXkMnJ4nHzXhBdkxlyHtKVpfB+DDbjxX4LHdnHy34rX6ttiC/WnJ6rkERJHY0QREkdjUL4deDbi8R5mPH6WLZkj877brn81o8fxG0bLOdhvs98/G6rn7tt1p/Q/wCdCo2uQREkdjRBESR2NQt/ikNrxeHkNNzyLrer69PQx9pfu0eZyYbb/CuTc6u6L8Ta/abxT7h9ilmMrkERJHY0QREkdjUL4pxkRxcxHY8LN/216t8V8NzXmKzn8S+696S0zWrcvpE96XBj5aWIIiSOxogiJI7GiCIkjsaIIiSOxqsiCIkjsaIIiSOxogiJI7GiCIkjsaAgiJI7GiCIkjsaIIiSOxogiJI7GgIIiSOxogiJI7GiCIkjsaIIiSOxoCCIkjsaIIiSOxogiJI7GiCIkjsaAgiJI7GiCIkjsaIIiSOxogiJI7GgIIiSOxogiJI7Go+bzvw+fFxreJn5WTNZfeW4ugi21tGeq4/aKxxvEbOUZrb+Nmw34shivx5enaWuxTV56zvtQWoIiSOxogiJI7GtLyMdwjaopbCRuNzr5js9/pR5GO4RtUUthI3G518x2e/0oNyCIkjsaIIiSOxrS8jHcI2qKWwkbjc6+Y7Pf6UeRjuEbVFLYSNxudfMdnv9KDcgiJI7GiCIkjsa0vIx3CNqilsJG43OvmOz3+lHkY7hG1RS2EjcbnXzHZ7/AEoNyCIkjsaIIiSOxrS8jHcI2qKWwkbjc6+Y7Pf6UeRjuEbVFLYSNxudfMdnv9KDcgiJI7GiCIkjsa0vIx3CNqilsJG43OvmOz3+lHkY7hG1RS2EjcbnXzHZ7/Sg3IIiSOxogiJI7GtLyMdwjaopbCRuNzr5js9/pUmXxWeXk4mHgcnk3WY7L7+hxgF0wJdcM9ntFB0UERJHY0QREkdjUXD8Rxc3juT4OTHGS7DdZk6ZLi7pRhTfpPf0mt7yMdwjaopbCRuNzr5js9/pQbkERJHY0QREkdjWl5GO4RtUUthI3G518x2e/wBKPIx3CNqilsJG43OvmOz3+lBuQREkdjRBESR2NaXkY7hG1RS2EjcbnXzHZ7/SjyMdwjaopbCRuNzr5js9/pQbkERJHY0QREkdjWl5GO4RtUUthI3G518x2e/0o8jHcI2qKWwkbjc6+Y7Pf6UG5BESR2NEERJHY1peRjuEbVFLYSNxudfMdnv9KPIx3CNqilsJG43OvmOz3+lBuQREkdjRBESR2NaXkY7hG1RS2EjcbnXzHZ7/AEo8jHcI2qKWwkbjc6+Y7Pf6UG5BESR2NEERJHY1zrvFLr82fDg8N5fItxXFl91vw7SW226IvvHVx6VXxORj53Bw8my1MefHbktLzvFxPf8AnQbkERJHY0QREkdjRBESR2NEERJHY0BBESR2NEERJHY0QREkdjRBESR2NAQREkdjRBESR2NEERJHY0QREkdjQEERJHY187hx867wXw/w7J4VyLL8LxjJfdfibAx32Nz2vVItfSvokERJHY0QREkdjQR28e8LRs7WxbAmvJMa7dnUH7rS3j3haNna2LYE15JjXbs6g/dasQREkdjRBESR2NBHbx7wtGztbFsCa8kxrt2dQfutLePeFo2drYtgTXkmNduzqD91qxBESR2NEERJHY0EdvHvC0bO1sWwJryTGu3Z1B+60t494WjZ2ti2BNeSY127OoP3WrEERJHY0QREkdjQR28e8LRs7WxbAmvJMa7dnUH7rS3j3haNna2LYE15JjXbs6g/dasQREkdjRBESR2NBHbx7wtGztbFsCa8kxrt2dQfutLePeFo2drYtgTXkmNduzqD91qxBESR2NEERJHY0EdvHvC0bO1sWwJryTGu3Z1B+60t494WjZ2ti2BNeSY127OoP3WrEERJHY0QREkdjQfNuHn4v0f5vhlvhXIvyZTkW2X2ZMPQ9d17a/MMRcf4T7V2LePeFo2drYtgTXkmNduzqD91qxBESR2NEERJHY0EdvHvC0bO1sWwJryTGu3Z1B+60t494WjZ2ti2BNeSY127OoP3WrEERJHY0QREkdjQR28e8LRs7WxbAmvJMa7dnUH7rS3j3haNna2LYE15JjXbs6g/dasQREkdjRBESR2NBHbx7wtGztbFsCa8kxrt2dQfutLePeFo2drYtgTXkmNduzqD91qxBESR2NEERJHY0EdvHvC0bO1sWwJryTGu3Z1B+60t494WjZ2ti2BNeSY127OoP3WrEERJHY0QREkdjQR28e8LRs7WxbAmvJMa7dnUH7rS3j3haNna2LYE15JjXbs6g/dasQREkdjRBESR2NBHbx7wtGztbFsCa8kxrt2dQfutR8V5fh/I5lv6t5GezLlsvsvw34umDFjtd3Wu7X0K7CCIkjsaIIiSOxoI/COPfx/BeFxs9nTkx8fHjvtUYS0EqxBESR2NEERJHY0QREkdjQEERJHY0QREkdjRBESR2NEERJHY0BBESR2NEERJHY0QREkdjRBESR2NAQREkdjRBESR2NEERJHY0QREkdjQEERJHY1msIIiSOxrNBhBESR2NEERJHY0QREkdjRBESR2NAQREkdjRBESR2NEERJHY0QREkdjQEERJHY0QREkdjRBESR2NEERJHY0HDw+K+GZr7MVvP4mS++6y3oM1tzdd5IIll/938RXauvxpcXXWwJai+r6f1P518/hx867wXw/w7J4VyLL8LxjJfdfibAx32Nz2vVItfSutbx7wtGztbFsCa8kxrt2dQfutBVdfjS4uutgS1F9X0/qfzpdfjS4uutgS1F9X0/qfzqW3j3haNna2LYE15JjXbs6g/daW8e8LRs7WxbAmvJMa7dnUH7rQVXX40uLrrYEtRfV9P6n868Z+Rx8GHJk5GbFjxWdr7slwW2zHZXWz+daLePeFo2drYtgTXkmNduzqD91qXxDici7h2fCwOW/Flw3Flt1opbfiuS2YNWv7J2160FeDxPw7l3OPj87i57o7248ttzEhofdD86puvxpcXXWwJai+r6f1P51yv7VzPFcGa/w/kcfFiw32XOW7Gy3X4mItvfS26f+eqrt494WjZ2ti2BNeSY127OoP3WgquvxpcXXWwJai+r6f1P50uvxpcXXWwJai+r6f1P51Lbx7wtGztbFsCa8kxrt2dQfutLePeFo2drYtgTXkmNduzqD91oKrr8aXF11sCWovq+n9T+dQ+Jc7hca/GcvlcfFasRlyAL1WOn6Pt67K2W8e8LRs7WxbAmvJMa7dnUH7rUmXHyuN4jxeRj4WXkWY8GTFcYrrDpX4UfNdaR5LtB9vWgq8M5HH5nHyX4M2LPZ1Ft11lxcT0WyKTL+b96tQREkdjXP8Lx5m/n5eRxr8ByOQX248javSYrLe/Spu19a6C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rF9lmTHdjyW232XCXW3EiPolZQREkdjRBESR2NBC+C+Fox4fxrX0usxFtx9RO4/Uo+F4gfhcjmY7/S55N+SP8AdvbrX8xq5BESR2NEERJHY1KhrLy2heFy7RbPE81937OfFjusfuW22v8AU/5UbfFLBm7h8kezY2XYfzmb5+0eu/e5BESR2NEERJHY0oyQvI59g/G8PsyWPbp4+cvu/MvLSPz/ACo+IlonJ4PMwjocXxer3/u26Pzj/OrkERJHY0QREkdjQuNIXxfw6G3NybMC/wCDkjiuT36b4U+uqpwcnj8zE3cfNiz456Vx3FxPt2+9bUERJHY1PyPD+Fy8hk5PE4+a8ILsmMuQ9pSnJ6qEERJHY0QREkdjUL4Rw4bbLc2Kz/08OfJjsPtbbcB/Kj4deDbi8R5mPH6WLZkj877brn81oVG1yCIkjsaIIiSOxqFweJQ2nN411mj4nFW5PrF4L9gPoUb/ABSG14vDyGm55F1vV9enoY+0v3aWY6l48Rwcm7n8bkcPPix5bMd+NMuJyDbddjlguHt0n094rx4bw8v9oz8jNjyZM+UyLZibbY6MZHzPpZ6XIz66pyeZnv6R8M5T3P8ARt2Jbjqt7x1pB9vXZuvlP0X/AEw8Q8U8cweH8jBxTDn6uptsu6u1j6tzPym5qpMU+3OIAHVJbAEenlk7fw6IO/caHEADqktgCPTyydv4dEHfuNUIIiSOxqPJ4lxeu/DjueTkFtux4LfiI6i6O1v+8hv2aERM9NhxAA6pLYAj08snb+HRB37jQ4gAdUlsAR6eWTt/Dog79xrS5PEc4lnGw8ey7/Fnv67j72W9n/3+s/SjweTlH8R4hmS7tfjw2W2WJ7Ejcdv3p9o9Ja47luOIAHVJbAEenlk7fw6IO/canz5eFw77cXJ53Hw3AdNuW+216fL6SdnpdQfRr3+qODd/fYPxHt+JvuzdP261j8vpVHH43H4mNx8bBiw2LLbjsLRfeCnJ6ueczhwfDyZs9hBbfh42TJYnlkLrCP8ADoQ9xihnLgOPxOZnLYE+D8KDy9vO276dW9vc9+tSnJcackycgA/VnMS2AJw68snbJ+7og79xoWeI3A4+HhtsILbc+fpuDyyJZbcE9Ohjv3PSutShcackw+KAH4XhpbAH4m7Xlk7Y/wB3RB37jUbw/wBIMPOycjhnhmMyYseJsy35L4LOqEgtD5nsEV9FShcacHgcLxfi8dsy4eDlyXZcmS663Pfaee/rQOhQ9Nx7jVBh8UAPwvDS2APxN2vLJ2x/u6IO/ca61KFxpyT8ZiC3L4ffkSA/D5LLreny9nqbEfLoOnv60MnIAP1ZzEtgCcOvLJ2yfu6IO/ca61KFxpyTlYLQtvx8y262Len8HkYPLJNpH+H/AAvSzpoc3w6wLcvMswJAWcm1w3Nvl/w3Qw9PpFv0YrrUpyX46R4MeHPhsyYM9mXFq26yG1DpEk/h0Qe417OIAHVJbAEenlk7fw6IO/ca85vDOByMt2XPweNlyXbvvxW3L+aVrfCsNo/Ay8nA6t6M1zbaexZdNkR2iIPSKcnq3HEADqktgCPTyydv4dEHfuNDiAB1SWwBHp5ZO38OiDv3GtLx+fjEx8yzPZtt5OI6rvp1WQB/usfXVHmcjEJzODeWO7+Pd8a0PZILl+1qfXcLMdNxxAA6pLYAj08snb+HRB37jQ4gAdUlsAR6eWTt/Dog79xrPH5fG5hfbgzWZG3tfYPmsn0ut2O+z7VvQREkdjVZmK7cY43N4nL5H4Plca3FlyWqZeO3NtxZjsO5faaBiB9hq/wzjfhvCeJxbnr+Fgsxq2pMWhprzlhz3T3OotZdS2dt+vtJP7N1UYLT8Njtbe3QCJHp7Qf5H2oNi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zWEERJHY1mgw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Cfkhdkx2JI7te8+a307/AOX5lc3j8Twrw+zFms8OwGa9LMPwePb1XLZMCHqdXduTc3ezxnHxLvF+C8/iPJwGDOFv4a7OF3VihgGO096l/R6zBi8Z8Qy4eO8fh8i6z8GOFxWsYz4nSIRMD9eme/SwWIdf8Fl5Pfn5uq1//t8U24/tc7v9RmLU/wANWWWWY8duPHbbZZaBbbaQAegV6pQmZkpSlEK15c+HDdjtzZceNyXdNhdcHVd7Hu1x/wBMPjfqHJ8Lr+H12/H+HM/Cnz67639Jrj+Nfqj/APCv1QcJs/G2dZxy1Plujqj/AJ1LWn2la8OfDnL3Dlx5Cy5su6Lh6bjYxpr4fwXxnk38bjYuZ4jZ4XxziOTFfZhx2ma7qRgbY7dvLbCzTwPxHPx/G8nFvzXcbh5vEM/+kLbX4uSSLFfl/wA2YrVc0zfFvvKV8n+kPjHN4fiPKxWcv8Jbi4xk41nRa/ib57ncV9oIe81Jm8c8Wt5XIyXchxGHlcbF+H+HZ0hfbNwsTv61I5/v2lnj+/3fb0r5r9LPFOZ4bk41/H5GOzDFzlx25cdma762l4ifQJWosnjPimTxbJht5mDgW43E48XNvtxOWxJVOhVe55biH0pHJPD7Ktbnw257cDlxma63qMbcdSe8bivjcHjnipysV/4m7PbfzeRg+A47AbbLZtBCZn6148A5t/P/AEk8O5GfmnJz38LI5bQtPhPV8sWgn596Rz/flk8f37T7WzPhyZcmLHlx35MUddltwtk6k9K2V8HzOfn4H6SeLXcPk9PJv5HGss40WvxxO5CT2PUSt/H8f52bxDBwr+aGW7n5sOTGWWdZjDy9o/rU+f35/wCk8f39p9rSvzTjwfo14WPiN9rg8Rs+NjnH/ZvPf5nyye/m7V1uR47z8fLzW4ed8TJjz4cfG43TY/isdx3vkJZ3NsBFa+1/fP8A0nh9rSvjOB4z4nf4lxfi8xvxZvEM3GcTjsLSy07dwmfzr7Op8s+0UpSgn5XC4/LLfj4+q62em8W262dxcdyfWHvU+TLl8OxX38zK8jiA9WT4fnsPe4t7XH2CO0j3ToV5vvsx47smS62yy0W665gA9VqNRPyUmWHPdPc6i1l1LZ236+0k/s3VRgtPw2O1t7dAIkentB/kfavlPDsPhuHN4i+K+GXZLruWuG6/gX5YxNtnw7RLWO0Bb6agr6HwTFdj8B8PxZrG2+3i47b7LyEekkSqkxU0uQREkdjRBESR2NEERJHY0QREkdjR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1msIIiSOxrNBh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E/JC7JjsSR3a9581vp3/wAvzK1Y+Nh5XHjPjtyE2323Ox6DzF25+or9fbbyQuyY7Ekd2vefNb6d/wDL8ynDC7CySXdMu+rynr6/zu+/sOmr4nM4n99Z+Kwn/wAzERktP3rP8Xbbb3VgtrfxuZxuX1HHzWZLrI67R81j7XG7Xs9n2rcgiJI7GtPJ4fG5fS8jDZkusnouTzWPva7tex3Pao1cT230qH8Dnxf6rz81ofLjzBls+sr53/3f07U+J4ni7XYONyLbe7fZkcd1x9LESfTvd39z0WY6ldSof1l0f6xwuZhn5f8ARfFn/ht0fnH+dP1x4fb2y8qzj3fs8icNye8Xwx9aXBjOl1K14c2LkYrcuDLZlx3avsuLh/MrZVZKUpQKUpQKUpQKUpQKUqbkeIcLiZDHyeXx8N6SW5Mhap7wtFiJnpTSof1txHvjc2a30vw8fJksftdbaj+TT8bycnbB4dm7/Lfmvtx2J7vduPt0z7x6S1xldSoenxPN82TjcW3TbZa5bo9y56Qfva69dU/VeLJ/rmXNzP3c1x0J7NloWvvKL/IgVH2Xq/xLj/Euxcfq5Wa1S7Hgi5tT0uZi31+ZJhiWvP4TLzP/AMxMN2L041g3WT73L8/uEAT6oJXbjssxGKyy23HadJaEAe0e1ekERJHY0LrpHlhz3T3OotZdS2dt+vtJP7N1UYLT8Njtbe3QCJHp7Qf5H2qfLDnunudRay6ls7b9faSf2bqowWn4bHa29ugESPT2g/yPtVZb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1msIIiSOxrNBh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BBESR2NEERJHY0QREkdjRBESR2NAQREkdjRBESR2NEERJHY0QREkdjQEERJHY0QREkdjRBESR2NEERJHY0HM8SeVl8Q4vE42TBjMmLJluuzYnIPRdjgjqD/Fv+UV48Pz8i2/mcfk3Ycl2LkW4+uzG2lw2YnuKy+dJbp7adVby/D+PzMmPJm+KX4y6227FmvxoMSTak/KfyrHG8O4vFtvMVt65Luu67JluvuuYDvdcrEW2ka7UA5F1xF1toLaImp6e3eP2ncP0aHIuuIuttBbRE1PT27x+07h+jW78PiiOiA7AOjt2PY7HbVPw+KI6IDsA6O3Y9jsdtUGk5F1xF1toLaImp6e3eP2ncP0aHIuuIuttBbRE1PT27x+07h+jW78PiiOiA7AOjt2PY7HbVPw+KI6IDsA6O3Y9jsdtUGk5F1xF1toLaImp6e3eP2ncP0aHIuuIuttBbRE1PT27x+07h+jW78PiiOiA7AOjt2PY7HbVPw+KI6IDsA6O3Y9jsdtUHPy8Xh8nK5eRwOJkyXNpdffhFPk7K/f1h12a8W8HiEfC49vFltLvw112HfT2u6W2fmY6ofYfXp/h8UR0QHYB0dux7HY7ap+HxRHRAdgHR27HsdjtqpUNZeW3Mt4eJib+US2j/AGzN2np7d7z9p3D9GluDOQYvEOVhsm0LJsv6Z6e3Vfa3PzPzI+w10/w+KI6IDsA6O3Y9jsdtU/D4ojogOwDo7dj2Ox21SjKXMtxctifFOUS2j5MXaent3sP2ncP0aiMfjPK8Tz8bjeN3YLMOHFkficbHkZv6u3YtiOn1B76r6D8PiiOiA7AOjt2PY7HbVTZvCOJmzuZM+O9sts/0PJyYzpJgi24O0v8AOlGUuX4Y+IcjjXPI8WzuSzkZMN11mLFbb5cnRptYk792fYaqtxctifFOUS2j5MXaent3sP2ncP0au43h/G4uD4OKy7o6rrvNkuuZueq7uq93u+9bfw+KI6IDsA6O3Y9jsdtUoylzLeK5IeRyuVlum06vjXY+kenyxZ0H+J7oXfRpbw8TE38oltH+2Zu09PbveftO4fo10/w+KI6IDsA6O3Y9jsdtU/D4ojogOwDo7dj2Ox21SoMvLbmW+H+H3Q3+HcS65beq7JiLrpenbd3V6nvdD9GqOMYuPicWDjYMGO646rbLC0F6JE7d+/rDrs1X+HxRHRAdgHR27Hsdjtqn4fFEdEB2AdHbsex2O2qtJPlM9y0nIuuIuttBbRE1PT27x+07h+jQ5F1xF1toLaImp6e3eP2ncP0a3fh8UR0QHYB0dux7HY7ap+HxRHRAdgHR27HsdjtqiNJyLriLrbQW0RNT09u8ftO4fo0ORdcRdbaC2iJqent3j9p3D9Gt34fFEdEB2AdHbsex2O2qfh8UR0QHYB0dux7HY7aoNJyLriLrbQW0RNT09u8ftO4fo0ORdcRdbaC2iJqent3j9p3D9Gt34fFEdEB2AdHbsex2O2qfh8UR0QHYB0dux7HY7aoOTZ+sOfzOW4s/Gw48OS3H0ZOPfes48d7367UJYiD6lXeEZXleC8LNktt6svHx3XFpB3tFg9q83+D8O/NflPxGK7IjcYeTlx2qBaeW24NAflVWDj4uPxsfGxWdOHHYY7bVmLQgO/0oNi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zWEERJHY1mgw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zWEERJHY1mgw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zWEERJHY1mgw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zWEERJHY1mgw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zWEERJHY1mgw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zWEERJHY1mgw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IIiSOxogiJI7GiCIkjsaAgiJI7GiCIkjsaIIiSOxogiJI7GgIIiSOxogiJI7GiCIkjsaIIiSOxoCCIkjsazWEERJHY1mg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72552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5" t="8932" r="1136" b="33268"/>
          <a:stretch/>
        </p:blipFill>
        <p:spPr bwMode="auto">
          <a:xfrm>
            <a:off x="3048000" y="3048000"/>
            <a:ext cx="5994400" cy="3581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61" t="9129" r="18773" b="75988"/>
          <a:stretch/>
        </p:blipFill>
        <p:spPr bwMode="auto">
          <a:xfrm>
            <a:off x="3835400" y="990600"/>
            <a:ext cx="4419600" cy="1447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228600" y="152400"/>
            <a:ext cx="5715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/>
              <a:t>Steps to buy a domain:</a:t>
            </a:r>
            <a:endParaRPr lang="en-US" sz="2000" b="1" dirty="0"/>
          </a:p>
        </p:txBody>
      </p:sp>
      <p:sp>
        <p:nvSpPr>
          <p:cNvPr id="7" name="TextBox 6"/>
          <p:cNvSpPr txBox="1"/>
          <p:nvPr/>
        </p:nvSpPr>
        <p:spPr>
          <a:xfrm>
            <a:off x="685800" y="1219200"/>
            <a:ext cx="1600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1. Login : 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4538230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38" r="19015" b="9423"/>
          <a:stretch/>
        </p:blipFill>
        <p:spPr bwMode="auto">
          <a:xfrm>
            <a:off x="914400" y="1066800"/>
            <a:ext cx="6953602" cy="541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04800" y="244764"/>
            <a:ext cx="5791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2. Register for GOV.UK or AC.UK domain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3558937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GATE Sensitive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94" b="8585"/>
          <a:stretch/>
        </p:blipFill>
        <p:spPr bwMode="auto">
          <a:xfrm>
            <a:off x="1106055" y="1066800"/>
            <a:ext cx="7010023" cy="518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30200" y="228600"/>
            <a:ext cx="6324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3. Check Domain Availability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1789369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474</TotalTime>
  <Words>241</Words>
  <Application>Microsoft Office PowerPoint</Application>
  <PresentationFormat>On-screen Show (4:3)</PresentationFormat>
  <Paragraphs>61</Paragraphs>
  <Slides>17</Slides>
  <Notes>3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7</vt:i4>
      </vt:variant>
    </vt:vector>
  </HeadingPairs>
  <TitlesOfParts>
    <vt:vector size="19" baseType="lpstr">
      <vt:lpstr>Executive</vt:lpstr>
      <vt:lpstr>Office Theme</vt:lpstr>
      <vt:lpstr>PowerPoint Presentation</vt:lpstr>
      <vt:lpstr>TEAM MEMBERS</vt:lpstr>
      <vt:lpstr>OVERVIEW OF THE PROJECT</vt:lpstr>
      <vt:lpstr>Actors</vt:lpstr>
      <vt:lpstr>Use Cas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efect Report</vt:lpstr>
      <vt:lpstr>PowerPoint Presentation</vt:lpstr>
      <vt:lpstr>Traceability Matrix</vt:lpstr>
      <vt:lpstr>Conclus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ADMISSION SYSTEM</dc:title>
  <dc:creator>Training LAB1</dc:creator>
  <cp:lastModifiedBy>Sethi, Poojan</cp:lastModifiedBy>
  <cp:revision>124</cp:revision>
  <dcterms:created xsi:type="dcterms:W3CDTF">2015-08-27T08:52:20Z</dcterms:created>
  <dcterms:modified xsi:type="dcterms:W3CDTF">2018-11-27T12:33:12Z</dcterms:modified>
</cp:coreProperties>
</file>